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3" r:id="rId2"/>
  </p:sldMasterIdLst>
  <p:notesMasterIdLst>
    <p:notesMasterId r:id="rId96"/>
  </p:notesMasterIdLst>
  <p:handoutMasterIdLst>
    <p:handoutMasterId r:id="rId97"/>
  </p:handoutMasterIdLst>
  <p:sldIdLst>
    <p:sldId id="256" r:id="rId3"/>
    <p:sldId id="436" r:id="rId4"/>
    <p:sldId id="435" r:id="rId5"/>
    <p:sldId id="442" r:id="rId6"/>
    <p:sldId id="621" r:id="rId7"/>
    <p:sldId id="672" r:id="rId8"/>
    <p:sldId id="673" r:id="rId9"/>
    <p:sldId id="674" r:id="rId10"/>
    <p:sldId id="675" r:id="rId11"/>
    <p:sldId id="676" r:id="rId12"/>
    <p:sldId id="677" r:id="rId13"/>
    <p:sldId id="620" r:id="rId14"/>
    <p:sldId id="622" r:id="rId15"/>
    <p:sldId id="611" r:id="rId16"/>
    <p:sldId id="614" r:id="rId17"/>
    <p:sldId id="615" r:id="rId18"/>
    <p:sldId id="617" r:id="rId19"/>
    <p:sldId id="618" r:id="rId20"/>
    <p:sldId id="616" r:id="rId21"/>
    <p:sldId id="619" r:id="rId22"/>
    <p:sldId id="623" r:id="rId23"/>
    <p:sldId id="624" r:id="rId24"/>
    <p:sldId id="625" r:id="rId25"/>
    <p:sldId id="629" r:id="rId26"/>
    <p:sldId id="631" r:id="rId27"/>
    <p:sldId id="636" r:id="rId28"/>
    <p:sldId id="637" r:id="rId29"/>
    <p:sldId id="633" r:id="rId30"/>
    <p:sldId id="638" r:id="rId31"/>
    <p:sldId id="639" r:id="rId32"/>
    <p:sldId id="640" r:id="rId33"/>
    <p:sldId id="641" r:id="rId34"/>
    <p:sldId id="642" r:id="rId35"/>
    <p:sldId id="643" r:id="rId36"/>
    <p:sldId id="646" r:id="rId37"/>
    <p:sldId id="644" r:id="rId38"/>
    <p:sldId id="647" r:id="rId39"/>
    <p:sldId id="645" r:id="rId40"/>
    <p:sldId id="648" r:id="rId41"/>
    <p:sldId id="650" r:id="rId42"/>
    <p:sldId id="649" r:id="rId43"/>
    <p:sldId id="651" r:id="rId44"/>
    <p:sldId id="652" r:id="rId45"/>
    <p:sldId id="653" r:id="rId46"/>
    <p:sldId id="655" r:id="rId47"/>
    <p:sldId id="654" r:id="rId48"/>
    <p:sldId id="656" r:id="rId49"/>
    <p:sldId id="657" r:id="rId50"/>
    <p:sldId id="658" r:id="rId51"/>
    <p:sldId id="660" r:id="rId52"/>
    <p:sldId id="662" r:id="rId53"/>
    <p:sldId id="661" r:id="rId54"/>
    <p:sldId id="659" r:id="rId55"/>
    <p:sldId id="663" r:id="rId56"/>
    <p:sldId id="664" r:id="rId57"/>
    <p:sldId id="665" r:id="rId58"/>
    <p:sldId id="613" r:id="rId59"/>
    <p:sldId id="666" r:id="rId60"/>
    <p:sldId id="612" r:id="rId61"/>
    <p:sldId id="667" r:id="rId62"/>
    <p:sldId id="668" r:id="rId63"/>
    <p:sldId id="610" r:id="rId64"/>
    <p:sldId id="678" r:id="rId65"/>
    <p:sldId id="691" r:id="rId66"/>
    <p:sldId id="679" r:id="rId67"/>
    <p:sldId id="685" r:id="rId68"/>
    <p:sldId id="682" r:id="rId69"/>
    <p:sldId id="684" r:id="rId70"/>
    <p:sldId id="683" r:id="rId71"/>
    <p:sldId id="681" r:id="rId72"/>
    <p:sldId id="686" r:id="rId73"/>
    <p:sldId id="687" r:id="rId74"/>
    <p:sldId id="688" r:id="rId75"/>
    <p:sldId id="689" r:id="rId76"/>
    <p:sldId id="690" r:id="rId77"/>
    <p:sldId id="670" r:id="rId78"/>
    <p:sldId id="692" r:id="rId79"/>
    <p:sldId id="694" r:id="rId80"/>
    <p:sldId id="693" r:id="rId81"/>
    <p:sldId id="695" r:id="rId82"/>
    <p:sldId id="697" r:id="rId83"/>
    <p:sldId id="696" r:id="rId84"/>
    <p:sldId id="671" r:id="rId85"/>
    <p:sldId id="698" r:id="rId86"/>
    <p:sldId id="699" r:id="rId87"/>
    <p:sldId id="701" r:id="rId88"/>
    <p:sldId id="702" r:id="rId89"/>
    <p:sldId id="703" r:id="rId90"/>
    <p:sldId id="705" r:id="rId91"/>
    <p:sldId id="704" r:id="rId92"/>
    <p:sldId id="700" r:id="rId93"/>
    <p:sldId id="706" r:id="rId94"/>
    <p:sldId id="707" r:id="rId95"/>
  </p:sldIdLst>
  <p:sldSz cx="9144000" cy="6858000" type="screen4x3"/>
  <p:notesSz cx="6985000" cy="9283700"/>
  <p:custDataLst>
    <p:tags r:id="rId9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orient="horz" pos="3929">
          <p15:clr>
            <a:srgbClr val="A4A3A4"/>
          </p15:clr>
        </p15:guide>
        <p15:guide id="3" orient="horz" pos="748">
          <p15:clr>
            <a:srgbClr val="A4A3A4"/>
          </p15:clr>
        </p15:guide>
        <p15:guide id="4" orient="horz" pos="1213">
          <p15:clr>
            <a:srgbClr val="A4A3A4"/>
          </p15:clr>
        </p15:guide>
        <p15:guide id="5" orient="horz" pos="1047">
          <p15:clr>
            <a:srgbClr val="A4A3A4"/>
          </p15:clr>
        </p15:guide>
        <p15:guide id="6" orient="horz" pos="944">
          <p15:clr>
            <a:srgbClr val="A4A3A4"/>
          </p15:clr>
        </p15:guide>
        <p15:guide id="7" pos="2880">
          <p15:clr>
            <a:srgbClr val="A4A3A4"/>
          </p15:clr>
        </p15:guide>
        <p15:guide id="8" pos="287">
          <p15:clr>
            <a:srgbClr val="A4A3A4"/>
          </p15:clr>
        </p15:guide>
        <p15:guide id="9" pos="5472">
          <p15:clr>
            <a:srgbClr val="A4A3A4"/>
          </p15:clr>
        </p15:guide>
        <p15:guide id="10" pos="2995">
          <p15:clr>
            <a:srgbClr val="A4A3A4"/>
          </p15:clr>
        </p15:guide>
        <p15:guide id="11" pos="276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lack, David S (NVA - X78680)" initials="BDS(-X" lastIdx="1" clrIdx="0">
    <p:extLst>
      <p:ext uri="{19B8F6BF-5375-455C-9EA6-DF929625EA0E}">
        <p15:presenceInfo xmlns:p15="http://schemas.microsoft.com/office/powerpoint/2012/main" userId="S-1-5-21-1836541547-1711626928-1237804090-54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BE2F3"/>
    <a:srgbClr val="000000"/>
    <a:srgbClr val="E78745"/>
    <a:srgbClr val="E7F1F9"/>
    <a:srgbClr val="00FF00"/>
    <a:srgbClr val="FFFFFF"/>
    <a:srgbClr val="CCECFF"/>
    <a:srgbClr val="CCFFCC"/>
    <a:srgbClr val="CAE71D"/>
    <a:srgbClr val="DBDD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06" autoAdjust="0"/>
    <p:restoredTop sz="94595" autoAdjust="0"/>
  </p:normalViewPr>
  <p:slideViewPr>
    <p:cSldViewPr snapToGrid="0" showGuides="1">
      <p:cViewPr varScale="1">
        <p:scale>
          <a:sx n="62" d="100"/>
          <a:sy n="62" d="100"/>
        </p:scale>
        <p:origin x="523" y="58"/>
      </p:cViewPr>
      <p:guideLst>
        <p:guide orient="horz" pos="2161"/>
        <p:guide orient="horz" pos="3929"/>
        <p:guide orient="horz" pos="748"/>
        <p:guide orient="horz" pos="1213"/>
        <p:guide orient="horz" pos="1047"/>
        <p:guide orient="horz" pos="944"/>
        <p:guide pos="2880"/>
        <p:guide pos="287"/>
        <p:guide pos="5472"/>
        <p:guide pos="2995"/>
        <p:guide pos="2765"/>
      </p:guideLst>
    </p:cSldViewPr>
  </p:slideViewPr>
  <p:outlineViewPr>
    <p:cViewPr>
      <p:scale>
        <a:sx n="33" d="100"/>
        <a:sy n="33" d="100"/>
      </p:scale>
      <p:origin x="0" y="815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slide" Target="slides/slide85.xml"/><Relationship Id="rId102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100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slide" Target="slides/slide91.xml"/><Relationship Id="rId98" Type="http://schemas.openxmlformats.org/officeDocument/2006/relationships/tags" Target="tags/tag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commentAuthors" Target="commentAuthors.xml"/><Relationship Id="rId10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0C84AE-74BF-4287-91D0-72278DBAA78A}" type="doc">
      <dgm:prSet loTypeId="urn:microsoft.com/office/officeart/2011/layout/HexagonRadial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9DEF0A1-AFDC-444A-B394-767B2D88D9E8}">
      <dgm:prSet phldrT="[Text]"/>
      <dgm:spPr>
        <a:solidFill>
          <a:schemeClr val="bg1"/>
        </a:solidFill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I.P.</a:t>
          </a:r>
        </a:p>
        <a:p>
          <a:r>
            <a:rPr lang="en-US" dirty="0" smtClean="0">
              <a:solidFill>
                <a:schemeClr val="tx1"/>
              </a:solidFill>
            </a:rPr>
            <a:t>Rights</a:t>
          </a:r>
          <a:endParaRPr lang="en-US" dirty="0">
            <a:solidFill>
              <a:schemeClr val="tx1"/>
            </a:solidFill>
          </a:endParaRPr>
        </a:p>
      </dgm:t>
    </dgm:pt>
    <dgm:pt modelId="{52A0B38A-FC83-4C8E-A0E6-3989DBE87320}" type="parTrans" cxnId="{6C0BD4F0-892D-4191-823E-450B5CFD07B0}">
      <dgm:prSet/>
      <dgm:spPr/>
      <dgm:t>
        <a:bodyPr/>
        <a:lstStyle/>
        <a:p>
          <a:endParaRPr lang="en-US"/>
        </a:p>
      </dgm:t>
    </dgm:pt>
    <dgm:pt modelId="{8E9D2320-7DA1-443F-8FFE-2AAE5FA40E36}" type="sibTrans" cxnId="{6C0BD4F0-892D-4191-823E-450B5CFD07B0}">
      <dgm:prSet/>
      <dgm:spPr/>
      <dgm:t>
        <a:bodyPr/>
        <a:lstStyle/>
        <a:p>
          <a:endParaRPr lang="en-US"/>
        </a:p>
      </dgm:t>
    </dgm:pt>
    <dgm:pt modelId="{857A110C-0111-43E0-A122-942CF6221B09}">
      <dgm:prSet phldrT="[Text]"/>
      <dgm:spPr>
        <a:solidFill>
          <a:srgbClr val="FF0000"/>
        </a:solidFill>
      </dgm:spPr>
      <dgm:t>
        <a:bodyPr/>
        <a:lstStyle/>
        <a:p>
          <a:r>
            <a:rPr lang="en-US" dirty="0" smtClean="0"/>
            <a:t>Make Copies</a:t>
          </a:r>
          <a:endParaRPr lang="en-US" dirty="0"/>
        </a:p>
      </dgm:t>
    </dgm:pt>
    <dgm:pt modelId="{80680B9F-9F19-46F8-BEAB-8D55477475C3}" type="parTrans" cxnId="{6314DC64-AAD9-4C8A-88C3-D4E316EF0527}">
      <dgm:prSet/>
      <dgm:spPr/>
      <dgm:t>
        <a:bodyPr/>
        <a:lstStyle/>
        <a:p>
          <a:endParaRPr lang="en-US"/>
        </a:p>
      </dgm:t>
    </dgm:pt>
    <dgm:pt modelId="{21A2E76D-C6F4-49A9-A22C-FDED4328756E}" type="sibTrans" cxnId="{6314DC64-AAD9-4C8A-88C3-D4E316EF0527}">
      <dgm:prSet/>
      <dgm:spPr/>
      <dgm:t>
        <a:bodyPr/>
        <a:lstStyle/>
        <a:p>
          <a:endParaRPr lang="en-US"/>
        </a:p>
      </dgm:t>
    </dgm:pt>
    <dgm:pt modelId="{87D0028E-414F-492A-9BE4-42907C504B35}">
      <dgm:prSet phldrT="[Text]"/>
      <dgm:spPr/>
      <dgm:t>
        <a:bodyPr/>
        <a:lstStyle/>
        <a:p>
          <a:r>
            <a:rPr lang="en-US" dirty="0" smtClean="0"/>
            <a:t>Modify</a:t>
          </a:r>
          <a:endParaRPr lang="en-US" dirty="0"/>
        </a:p>
      </dgm:t>
    </dgm:pt>
    <dgm:pt modelId="{068E6172-40A9-40C3-81D2-9E866FC6B22E}" type="parTrans" cxnId="{3945A563-F786-4321-8D1C-3337F325287E}">
      <dgm:prSet/>
      <dgm:spPr/>
      <dgm:t>
        <a:bodyPr/>
        <a:lstStyle/>
        <a:p>
          <a:endParaRPr lang="en-US"/>
        </a:p>
      </dgm:t>
    </dgm:pt>
    <dgm:pt modelId="{90ECDC7D-B70F-4F0E-8163-B68201F4F255}" type="sibTrans" cxnId="{3945A563-F786-4321-8D1C-3337F325287E}">
      <dgm:prSet/>
      <dgm:spPr/>
      <dgm:t>
        <a:bodyPr/>
        <a:lstStyle/>
        <a:p>
          <a:endParaRPr lang="en-US"/>
        </a:p>
      </dgm:t>
    </dgm:pt>
    <dgm:pt modelId="{213C07F4-25F8-4A38-ABA6-D4631CADFFBD}">
      <dgm:prSet phldrT="[Text]"/>
      <dgm:spPr>
        <a:solidFill>
          <a:srgbClr val="FF0000"/>
        </a:solidFill>
      </dgm:spPr>
      <dgm:t>
        <a:bodyPr/>
        <a:lstStyle/>
        <a:p>
          <a:r>
            <a:rPr lang="en-US" dirty="0" smtClean="0"/>
            <a:t>Display</a:t>
          </a:r>
          <a:endParaRPr lang="en-US" dirty="0"/>
        </a:p>
      </dgm:t>
    </dgm:pt>
    <dgm:pt modelId="{87758748-B368-42AA-9955-8E5458660D06}" type="parTrans" cxnId="{F13279B8-A5E9-4AF7-A2D4-8C100CC61834}">
      <dgm:prSet/>
      <dgm:spPr/>
      <dgm:t>
        <a:bodyPr/>
        <a:lstStyle/>
        <a:p>
          <a:endParaRPr lang="en-US"/>
        </a:p>
      </dgm:t>
    </dgm:pt>
    <dgm:pt modelId="{9E1DBE93-EED5-4D83-8FED-073398AC00E3}" type="sibTrans" cxnId="{F13279B8-A5E9-4AF7-A2D4-8C100CC61834}">
      <dgm:prSet/>
      <dgm:spPr/>
      <dgm:t>
        <a:bodyPr/>
        <a:lstStyle/>
        <a:p>
          <a:endParaRPr lang="en-US"/>
        </a:p>
      </dgm:t>
    </dgm:pt>
    <dgm:pt modelId="{BF59F191-171B-4948-955F-B12F18182B82}">
      <dgm:prSet phldrT="[Text]"/>
      <dgm:spPr/>
      <dgm:t>
        <a:bodyPr/>
        <a:lstStyle/>
        <a:p>
          <a:r>
            <a:rPr lang="en-US" dirty="0" smtClean="0"/>
            <a:t>Perform</a:t>
          </a:r>
          <a:endParaRPr lang="en-US" dirty="0"/>
        </a:p>
      </dgm:t>
    </dgm:pt>
    <dgm:pt modelId="{66FDF4F2-C9E6-4BCB-A672-4AD5BEFD71C9}" type="parTrans" cxnId="{6A7C30EB-9E1C-4747-A081-97307786CD87}">
      <dgm:prSet/>
      <dgm:spPr/>
      <dgm:t>
        <a:bodyPr/>
        <a:lstStyle/>
        <a:p>
          <a:endParaRPr lang="en-US"/>
        </a:p>
      </dgm:t>
    </dgm:pt>
    <dgm:pt modelId="{544DB315-3093-4E74-AA8F-2113948AF4EE}" type="sibTrans" cxnId="{6A7C30EB-9E1C-4747-A081-97307786CD87}">
      <dgm:prSet/>
      <dgm:spPr/>
      <dgm:t>
        <a:bodyPr/>
        <a:lstStyle/>
        <a:p>
          <a:endParaRPr lang="en-US"/>
        </a:p>
      </dgm:t>
    </dgm:pt>
    <dgm:pt modelId="{87F2D571-BB34-4168-8614-D6A65B7DDE22}">
      <dgm:prSet phldrT="[Text]"/>
      <dgm:spPr>
        <a:solidFill>
          <a:srgbClr val="FF0000"/>
        </a:solidFill>
      </dgm:spPr>
      <dgm:t>
        <a:bodyPr/>
        <a:lstStyle/>
        <a:p>
          <a:r>
            <a:rPr lang="en-US" dirty="0" smtClean="0"/>
            <a:t>Use</a:t>
          </a:r>
          <a:endParaRPr lang="en-US" dirty="0"/>
        </a:p>
      </dgm:t>
    </dgm:pt>
    <dgm:pt modelId="{59C9AAEC-EE33-4B3C-A0D0-F8908B4A01AA}" type="parTrans" cxnId="{E7CE6F31-2485-4383-B70E-DDDB6D1F42B3}">
      <dgm:prSet/>
      <dgm:spPr/>
      <dgm:t>
        <a:bodyPr/>
        <a:lstStyle/>
        <a:p>
          <a:endParaRPr lang="en-US"/>
        </a:p>
      </dgm:t>
    </dgm:pt>
    <dgm:pt modelId="{11297715-50FB-443F-A1E2-0DE6282D6987}" type="sibTrans" cxnId="{E7CE6F31-2485-4383-B70E-DDDB6D1F42B3}">
      <dgm:prSet/>
      <dgm:spPr/>
      <dgm:t>
        <a:bodyPr/>
        <a:lstStyle/>
        <a:p>
          <a:endParaRPr lang="en-US"/>
        </a:p>
      </dgm:t>
    </dgm:pt>
    <dgm:pt modelId="{4B6CC045-8737-498E-979F-523C88A58618}">
      <dgm:prSet phldrT="[Text]"/>
      <dgm:spPr/>
      <dgm:t>
        <a:bodyPr/>
        <a:lstStyle/>
        <a:p>
          <a:r>
            <a:rPr lang="en-US" dirty="0" smtClean="0"/>
            <a:t>Disclose to Third Parties</a:t>
          </a:r>
          <a:endParaRPr lang="en-US" dirty="0"/>
        </a:p>
      </dgm:t>
    </dgm:pt>
    <dgm:pt modelId="{F1F16F58-559F-495F-A4F7-E561B999FB25}" type="sibTrans" cxnId="{C56C2F8B-68E7-40E3-9BBC-C5662B9322C1}">
      <dgm:prSet/>
      <dgm:spPr/>
      <dgm:t>
        <a:bodyPr/>
        <a:lstStyle/>
        <a:p>
          <a:endParaRPr lang="en-US"/>
        </a:p>
      </dgm:t>
    </dgm:pt>
    <dgm:pt modelId="{65CE4A1C-F261-4DDC-86C5-84F5A92A341F}" type="parTrans" cxnId="{C56C2F8B-68E7-40E3-9BBC-C5662B9322C1}">
      <dgm:prSet/>
      <dgm:spPr/>
      <dgm:t>
        <a:bodyPr/>
        <a:lstStyle/>
        <a:p>
          <a:endParaRPr lang="en-US"/>
        </a:p>
      </dgm:t>
    </dgm:pt>
    <dgm:pt modelId="{120270DB-6632-4E55-A467-325EF257F808}">
      <dgm:prSet phldrT="[Text]"/>
      <dgm:spPr>
        <a:solidFill>
          <a:schemeClr val="bg1"/>
        </a:solidFill>
      </dgm:spPr>
      <dgm:t>
        <a:bodyPr/>
        <a:lstStyle/>
        <a:p>
          <a:endParaRPr lang="en-US"/>
        </a:p>
      </dgm:t>
    </dgm:pt>
    <dgm:pt modelId="{27074EF3-FD86-4943-A77F-A46D01FE1198}" type="parTrans" cxnId="{50A7978B-28A2-48FA-873F-29C9B9F79074}">
      <dgm:prSet/>
      <dgm:spPr/>
      <dgm:t>
        <a:bodyPr/>
        <a:lstStyle/>
        <a:p>
          <a:endParaRPr lang="en-US"/>
        </a:p>
      </dgm:t>
    </dgm:pt>
    <dgm:pt modelId="{D05678B2-D159-4936-A83A-E31C31A69DFE}" type="sibTrans" cxnId="{50A7978B-28A2-48FA-873F-29C9B9F79074}">
      <dgm:prSet/>
      <dgm:spPr/>
      <dgm:t>
        <a:bodyPr/>
        <a:lstStyle/>
        <a:p>
          <a:endParaRPr lang="en-US"/>
        </a:p>
      </dgm:t>
    </dgm:pt>
    <dgm:pt modelId="{09886F02-F575-431A-A2B5-70FC73EC62A6}" type="pres">
      <dgm:prSet presAssocID="{490C84AE-74BF-4287-91D0-72278DBAA78A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E5EE9ACE-AF24-4F3B-832C-AEBC82EE1C9E}" type="pres">
      <dgm:prSet presAssocID="{49DEF0A1-AFDC-444A-B394-767B2D88D9E8}" presName="Parent" presStyleLbl="node0" presStyleIdx="0" presStyleCnt="1">
        <dgm:presLayoutVars>
          <dgm:chMax val="6"/>
          <dgm:chPref val="6"/>
        </dgm:presLayoutVars>
      </dgm:prSet>
      <dgm:spPr/>
      <dgm:t>
        <a:bodyPr/>
        <a:lstStyle/>
        <a:p>
          <a:endParaRPr lang="en-US"/>
        </a:p>
      </dgm:t>
    </dgm:pt>
    <dgm:pt modelId="{C73A86EF-ADB6-44ED-93A2-5360D44987C3}" type="pres">
      <dgm:prSet presAssocID="{857A110C-0111-43E0-A122-942CF6221B09}" presName="Accent1" presStyleCnt="0"/>
      <dgm:spPr/>
    </dgm:pt>
    <dgm:pt modelId="{6AF8014F-6500-461A-A6C1-0B06DB9C5B36}" type="pres">
      <dgm:prSet presAssocID="{857A110C-0111-43E0-A122-942CF6221B09}" presName="Accent" presStyleLbl="bgShp" presStyleIdx="0" presStyleCnt="6"/>
      <dgm:spPr/>
    </dgm:pt>
    <dgm:pt modelId="{42D24DAA-E3F2-418A-9B66-3D65EF90B391}" type="pres">
      <dgm:prSet presAssocID="{857A110C-0111-43E0-A122-942CF6221B09}" presName="Child1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D44CAD-BDA8-4A63-9AB1-DC8F6102EF37}" type="pres">
      <dgm:prSet presAssocID="{87D0028E-414F-492A-9BE4-42907C504B35}" presName="Accent2" presStyleCnt="0"/>
      <dgm:spPr/>
    </dgm:pt>
    <dgm:pt modelId="{E2F36566-F1A4-40C8-A82F-371E398BAE12}" type="pres">
      <dgm:prSet presAssocID="{87D0028E-414F-492A-9BE4-42907C504B35}" presName="Accent" presStyleLbl="bgShp" presStyleIdx="1" presStyleCnt="6"/>
      <dgm:spPr/>
    </dgm:pt>
    <dgm:pt modelId="{1F1513F3-FDAB-417D-86DE-75AAE84FE0CE}" type="pres">
      <dgm:prSet presAssocID="{87D0028E-414F-492A-9BE4-42907C504B35}" presName="Child2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051965-B10F-474B-8DA4-77E38F68B6C3}" type="pres">
      <dgm:prSet presAssocID="{213C07F4-25F8-4A38-ABA6-D4631CADFFBD}" presName="Accent3" presStyleCnt="0"/>
      <dgm:spPr/>
    </dgm:pt>
    <dgm:pt modelId="{42B47350-C32F-47CA-99A7-1B15FDA2D909}" type="pres">
      <dgm:prSet presAssocID="{213C07F4-25F8-4A38-ABA6-D4631CADFFBD}" presName="Accent" presStyleLbl="bgShp" presStyleIdx="2" presStyleCnt="6"/>
      <dgm:spPr/>
    </dgm:pt>
    <dgm:pt modelId="{23BAD456-5A18-4F92-A3E1-5E988C4AB8F9}" type="pres">
      <dgm:prSet presAssocID="{213C07F4-25F8-4A38-ABA6-D4631CADFFBD}" presName="Child3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C6CCF4-2CA7-4CD3-BD80-877E9229EC02}" type="pres">
      <dgm:prSet presAssocID="{BF59F191-171B-4948-955F-B12F18182B82}" presName="Accent4" presStyleCnt="0"/>
      <dgm:spPr/>
    </dgm:pt>
    <dgm:pt modelId="{77574628-DA43-4B02-AAD5-26E1FA28E009}" type="pres">
      <dgm:prSet presAssocID="{BF59F191-171B-4948-955F-B12F18182B82}" presName="Accent" presStyleLbl="bgShp" presStyleIdx="3" presStyleCnt="6"/>
      <dgm:spPr/>
    </dgm:pt>
    <dgm:pt modelId="{6E8567F0-A5AF-4CCD-98E4-A8C654CCC8E1}" type="pres">
      <dgm:prSet presAssocID="{BF59F191-171B-4948-955F-B12F18182B82}" presName="Child4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BB1436-1827-4D3B-B94B-09717B5FE60D}" type="pres">
      <dgm:prSet presAssocID="{87F2D571-BB34-4168-8614-D6A65B7DDE22}" presName="Accent5" presStyleCnt="0"/>
      <dgm:spPr/>
    </dgm:pt>
    <dgm:pt modelId="{E7C51777-F32A-4925-A8E5-311806555999}" type="pres">
      <dgm:prSet presAssocID="{87F2D571-BB34-4168-8614-D6A65B7DDE22}" presName="Accent" presStyleLbl="bgShp" presStyleIdx="4" presStyleCnt="6"/>
      <dgm:spPr/>
    </dgm:pt>
    <dgm:pt modelId="{9B9ED708-6B34-4019-88EB-8E6E994D8043}" type="pres">
      <dgm:prSet presAssocID="{87F2D571-BB34-4168-8614-D6A65B7DDE22}" presName="Child5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5C5D5E-44B4-4CEB-953E-51794A82C008}" type="pres">
      <dgm:prSet presAssocID="{4B6CC045-8737-498E-979F-523C88A58618}" presName="Accent6" presStyleCnt="0"/>
      <dgm:spPr/>
    </dgm:pt>
    <dgm:pt modelId="{65A459C1-B1C5-497D-8A4B-D349301F350E}" type="pres">
      <dgm:prSet presAssocID="{4B6CC045-8737-498E-979F-523C88A58618}" presName="Accent" presStyleLbl="bgShp" presStyleIdx="5" presStyleCnt="6"/>
      <dgm:spPr/>
    </dgm:pt>
    <dgm:pt modelId="{06CB8CD5-408F-4862-BE7F-824487A73393}" type="pres">
      <dgm:prSet presAssocID="{4B6CC045-8737-498E-979F-523C88A58618}" presName="Child6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A244068-3D9F-4A7F-9E1C-A0F8A8C78518}" type="presOf" srcId="{BF59F191-171B-4948-955F-B12F18182B82}" destId="{6E8567F0-A5AF-4CCD-98E4-A8C654CCC8E1}" srcOrd="0" destOrd="0" presId="urn:microsoft.com/office/officeart/2011/layout/HexagonRadial"/>
    <dgm:cxn modelId="{6A7C30EB-9E1C-4747-A081-97307786CD87}" srcId="{49DEF0A1-AFDC-444A-B394-767B2D88D9E8}" destId="{BF59F191-171B-4948-955F-B12F18182B82}" srcOrd="3" destOrd="0" parTransId="{66FDF4F2-C9E6-4BCB-A672-4AD5BEFD71C9}" sibTransId="{544DB315-3093-4E74-AA8F-2113948AF4EE}"/>
    <dgm:cxn modelId="{F12347AA-168C-410D-BEFC-8792526B1B84}" type="presOf" srcId="{490C84AE-74BF-4287-91D0-72278DBAA78A}" destId="{09886F02-F575-431A-A2B5-70FC73EC62A6}" srcOrd="0" destOrd="0" presId="urn:microsoft.com/office/officeart/2011/layout/HexagonRadial"/>
    <dgm:cxn modelId="{E7CE6F31-2485-4383-B70E-DDDB6D1F42B3}" srcId="{49DEF0A1-AFDC-444A-B394-767B2D88D9E8}" destId="{87F2D571-BB34-4168-8614-D6A65B7DDE22}" srcOrd="4" destOrd="0" parTransId="{59C9AAEC-EE33-4B3C-A0D0-F8908B4A01AA}" sibTransId="{11297715-50FB-443F-A1E2-0DE6282D6987}"/>
    <dgm:cxn modelId="{B8D4482C-8553-422F-ADAF-5730CB31CD91}" type="presOf" srcId="{87D0028E-414F-492A-9BE4-42907C504B35}" destId="{1F1513F3-FDAB-417D-86DE-75AAE84FE0CE}" srcOrd="0" destOrd="0" presId="urn:microsoft.com/office/officeart/2011/layout/HexagonRadial"/>
    <dgm:cxn modelId="{C56C2F8B-68E7-40E3-9BBC-C5662B9322C1}" srcId="{49DEF0A1-AFDC-444A-B394-767B2D88D9E8}" destId="{4B6CC045-8737-498E-979F-523C88A58618}" srcOrd="5" destOrd="0" parTransId="{65CE4A1C-F261-4DDC-86C5-84F5A92A341F}" sibTransId="{F1F16F58-559F-495F-A4F7-E561B999FB25}"/>
    <dgm:cxn modelId="{3945A563-F786-4321-8D1C-3337F325287E}" srcId="{49DEF0A1-AFDC-444A-B394-767B2D88D9E8}" destId="{87D0028E-414F-492A-9BE4-42907C504B35}" srcOrd="1" destOrd="0" parTransId="{068E6172-40A9-40C3-81D2-9E866FC6B22E}" sibTransId="{90ECDC7D-B70F-4F0E-8163-B68201F4F255}"/>
    <dgm:cxn modelId="{F13279B8-A5E9-4AF7-A2D4-8C100CC61834}" srcId="{49DEF0A1-AFDC-444A-B394-767B2D88D9E8}" destId="{213C07F4-25F8-4A38-ABA6-D4631CADFFBD}" srcOrd="2" destOrd="0" parTransId="{87758748-B368-42AA-9955-8E5458660D06}" sibTransId="{9E1DBE93-EED5-4D83-8FED-073398AC00E3}"/>
    <dgm:cxn modelId="{6314DC64-AAD9-4C8A-88C3-D4E316EF0527}" srcId="{49DEF0A1-AFDC-444A-B394-767B2D88D9E8}" destId="{857A110C-0111-43E0-A122-942CF6221B09}" srcOrd="0" destOrd="0" parTransId="{80680B9F-9F19-46F8-BEAB-8D55477475C3}" sibTransId="{21A2E76D-C6F4-49A9-A22C-FDED4328756E}"/>
    <dgm:cxn modelId="{0CAA48BB-A725-45CB-9F58-5EB70137E7C0}" type="presOf" srcId="{213C07F4-25F8-4A38-ABA6-D4631CADFFBD}" destId="{23BAD456-5A18-4F92-A3E1-5E988C4AB8F9}" srcOrd="0" destOrd="0" presId="urn:microsoft.com/office/officeart/2011/layout/HexagonRadial"/>
    <dgm:cxn modelId="{63FDD816-6079-4D4F-AAD4-ED42C6707C66}" type="presOf" srcId="{857A110C-0111-43E0-A122-942CF6221B09}" destId="{42D24DAA-E3F2-418A-9B66-3D65EF90B391}" srcOrd="0" destOrd="0" presId="urn:microsoft.com/office/officeart/2011/layout/HexagonRadial"/>
    <dgm:cxn modelId="{221456B0-8F7E-4E38-9376-773B0405239A}" type="presOf" srcId="{49DEF0A1-AFDC-444A-B394-767B2D88D9E8}" destId="{E5EE9ACE-AF24-4F3B-832C-AEBC82EE1C9E}" srcOrd="0" destOrd="0" presId="urn:microsoft.com/office/officeart/2011/layout/HexagonRadial"/>
    <dgm:cxn modelId="{6C0BD4F0-892D-4191-823E-450B5CFD07B0}" srcId="{490C84AE-74BF-4287-91D0-72278DBAA78A}" destId="{49DEF0A1-AFDC-444A-B394-767B2D88D9E8}" srcOrd="0" destOrd="0" parTransId="{52A0B38A-FC83-4C8E-A0E6-3989DBE87320}" sibTransId="{8E9D2320-7DA1-443F-8FFE-2AAE5FA40E36}"/>
    <dgm:cxn modelId="{5145AFC6-6345-482C-BE8D-D6877E8B21E7}" type="presOf" srcId="{4B6CC045-8737-498E-979F-523C88A58618}" destId="{06CB8CD5-408F-4862-BE7F-824487A73393}" srcOrd="0" destOrd="0" presId="urn:microsoft.com/office/officeart/2011/layout/HexagonRadial"/>
    <dgm:cxn modelId="{50A7978B-28A2-48FA-873F-29C9B9F79074}" srcId="{490C84AE-74BF-4287-91D0-72278DBAA78A}" destId="{120270DB-6632-4E55-A467-325EF257F808}" srcOrd="1" destOrd="0" parTransId="{27074EF3-FD86-4943-A77F-A46D01FE1198}" sibTransId="{D05678B2-D159-4936-A83A-E31C31A69DFE}"/>
    <dgm:cxn modelId="{43805DFC-8B18-49D2-B699-2E335B8536F4}" type="presOf" srcId="{87F2D571-BB34-4168-8614-D6A65B7DDE22}" destId="{9B9ED708-6B34-4019-88EB-8E6E994D8043}" srcOrd="0" destOrd="0" presId="urn:microsoft.com/office/officeart/2011/layout/HexagonRadial"/>
    <dgm:cxn modelId="{9E66A42D-658A-477D-8341-C5691BB50E55}" type="presParOf" srcId="{09886F02-F575-431A-A2B5-70FC73EC62A6}" destId="{E5EE9ACE-AF24-4F3B-832C-AEBC82EE1C9E}" srcOrd="0" destOrd="0" presId="urn:microsoft.com/office/officeart/2011/layout/HexagonRadial"/>
    <dgm:cxn modelId="{8DA7AF52-C3FB-4C96-8C9D-A38E2992F9C4}" type="presParOf" srcId="{09886F02-F575-431A-A2B5-70FC73EC62A6}" destId="{C73A86EF-ADB6-44ED-93A2-5360D44987C3}" srcOrd="1" destOrd="0" presId="urn:microsoft.com/office/officeart/2011/layout/HexagonRadial"/>
    <dgm:cxn modelId="{1D9A834E-A2C6-4808-8E3B-068E83E3FE53}" type="presParOf" srcId="{C73A86EF-ADB6-44ED-93A2-5360D44987C3}" destId="{6AF8014F-6500-461A-A6C1-0B06DB9C5B36}" srcOrd="0" destOrd="0" presId="urn:microsoft.com/office/officeart/2011/layout/HexagonRadial"/>
    <dgm:cxn modelId="{9BDC23C1-11A2-4D25-8ED2-17CB238CC71E}" type="presParOf" srcId="{09886F02-F575-431A-A2B5-70FC73EC62A6}" destId="{42D24DAA-E3F2-418A-9B66-3D65EF90B391}" srcOrd="2" destOrd="0" presId="urn:microsoft.com/office/officeart/2011/layout/HexagonRadial"/>
    <dgm:cxn modelId="{8C9EA15B-4D36-4152-A297-E37E37FBEC1C}" type="presParOf" srcId="{09886F02-F575-431A-A2B5-70FC73EC62A6}" destId="{FFD44CAD-BDA8-4A63-9AB1-DC8F6102EF37}" srcOrd="3" destOrd="0" presId="urn:microsoft.com/office/officeart/2011/layout/HexagonRadial"/>
    <dgm:cxn modelId="{78A1D5FE-4267-467F-BE53-2ACB236B77C7}" type="presParOf" srcId="{FFD44CAD-BDA8-4A63-9AB1-DC8F6102EF37}" destId="{E2F36566-F1A4-40C8-A82F-371E398BAE12}" srcOrd="0" destOrd="0" presId="urn:microsoft.com/office/officeart/2011/layout/HexagonRadial"/>
    <dgm:cxn modelId="{65260AC6-47EB-4629-9237-BC92AA1F416F}" type="presParOf" srcId="{09886F02-F575-431A-A2B5-70FC73EC62A6}" destId="{1F1513F3-FDAB-417D-86DE-75AAE84FE0CE}" srcOrd="4" destOrd="0" presId="urn:microsoft.com/office/officeart/2011/layout/HexagonRadial"/>
    <dgm:cxn modelId="{79722CBB-556C-43F5-8CF7-DD74BE9B9D4C}" type="presParOf" srcId="{09886F02-F575-431A-A2B5-70FC73EC62A6}" destId="{05051965-B10F-474B-8DA4-77E38F68B6C3}" srcOrd="5" destOrd="0" presId="urn:microsoft.com/office/officeart/2011/layout/HexagonRadial"/>
    <dgm:cxn modelId="{D9D02A03-0D20-4FC4-88CE-E90839554EE4}" type="presParOf" srcId="{05051965-B10F-474B-8DA4-77E38F68B6C3}" destId="{42B47350-C32F-47CA-99A7-1B15FDA2D909}" srcOrd="0" destOrd="0" presId="urn:microsoft.com/office/officeart/2011/layout/HexagonRadial"/>
    <dgm:cxn modelId="{09C0119F-A49D-4CDD-BFF5-089F037CB473}" type="presParOf" srcId="{09886F02-F575-431A-A2B5-70FC73EC62A6}" destId="{23BAD456-5A18-4F92-A3E1-5E988C4AB8F9}" srcOrd="6" destOrd="0" presId="urn:microsoft.com/office/officeart/2011/layout/HexagonRadial"/>
    <dgm:cxn modelId="{1F82913B-4D58-4F1A-A977-128932F5239C}" type="presParOf" srcId="{09886F02-F575-431A-A2B5-70FC73EC62A6}" destId="{D2C6CCF4-2CA7-4CD3-BD80-877E9229EC02}" srcOrd="7" destOrd="0" presId="urn:microsoft.com/office/officeart/2011/layout/HexagonRadial"/>
    <dgm:cxn modelId="{30813658-D178-43C7-873E-944EF3479843}" type="presParOf" srcId="{D2C6CCF4-2CA7-4CD3-BD80-877E9229EC02}" destId="{77574628-DA43-4B02-AAD5-26E1FA28E009}" srcOrd="0" destOrd="0" presId="urn:microsoft.com/office/officeart/2011/layout/HexagonRadial"/>
    <dgm:cxn modelId="{E9FE88C5-919E-40D4-8DEC-A3C5237CE6CA}" type="presParOf" srcId="{09886F02-F575-431A-A2B5-70FC73EC62A6}" destId="{6E8567F0-A5AF-4CCD-98E4-A8C654CCC8E1}" srcOrd="8" destOrd="0" presId="urn:microsoft.com/office/officeart/2011/layout/HexagonRadial"/>
    <dgm:cxn modelId="{DAAD8829-C1CE-4129-9BA8-04FFEC445757}" type="presParOf" srcId="{09886F02-F575-431A-A2B5-70FC73EC62A6}" destId="{5DBB1436-1827-4D3B-B94B-09717B5FE60D}" srcOrd="9" destOrd="0" presId="urn:microsoft.com/office/officeart/2011/layout/HexagonRadial"/>
    <dgm:cxn modelId="{ED56DE1A-B4DE-4C22-9F8F-EEDDB3EDD8E2}" type="presParOf" srcId="{5DBB1436-1827-4D3B-B94B-09717B5FE60D}" destId="{E7C51777-F32A-4925-A8E5-311806555999}" srcOrd="0" destOrd="0" presId="urn:microsoft.com/office/officeart/2011/layout/HexagonRadial"/>
    <dgm:cxn modelId="{4EE4C974-7FE7-4C2D-8E37-AC01735C3926}" type="presParOf" srcId="{09886F02-F575-431A-A2B5-70FC73EC62A6}" destId="{9B9ED708-6B34-4019-88EB-8E6E994D8043}" srcOrd="10" destOrd="0" presId="urn:microsoft.com/office/officeart/2011/layout/HexagonRadial"/>
    <dgm:cxn modelId="{72936C8B-DDE0-4386-8E01-D0F004E0AA14}" type="presParOf" srcId="{09886F02-F575-431A-A2B5-70FC73EC62A6}" destId="{6A5C5D5E-44B4-4CEB-953E-51794A82C008}" srcOrd="11" destOrd="0" presId="urn:microsoft.com/office/officeart/2011/layout/HexagonRadial"/>
    <dgm:cxn modelId="{1FA32C5B-036F-493E-A56E-F3B1459067C7}" type="presParOf" srcId="{6A5C5D5E-44B4-4CEB-953E-51794A82C008}" destId="{65A459C1-B1C5-497D-8A4B-D349301F350E}" srcOrd="0" destOrd="0" presId="urn:microsoft.com/office/officeart/2011/layout/HexagonRadial"/>
    <dgm:cxn modelId="{518BFF33-50B9-454A-BEC4-23120A3396BC}" type="presParOf" srcId="{09886F02-F575-431A-A2B5-70FC73EC62A6}" destId="{06CB8CD5-408F-4862-BE7F-824487A73393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30E7702-CFFF-440A-BCE0-C76FD6DC7F03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2279E0-303B-4791-B6E5-EF938FBCF9D3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2.0</a:t>
          </a:r>
          <a:endParaRPr lang="en-US" sz="2800" dirty="0">
            <a:latin typeface="Calibri" panose="020F0502020204030204" pitchFamily="34" charset="0"/>
          </a:endParaRPr>
        </a:p>
      </dgm:t>
    </dgm:pt>
    <dgm:pt modelId="{4C06B380-C1BE-46BD-8EB0-BBE3574A2B64}" type="parTrans" cxnId="{5DDF0AEC-4656-48A7-BE9F-B7D7212B7B16}">
      <dgm:prSet/>
      <dgm:spPr/>
      <dgm:t>
        <a:bodyPr/>
        <a:lstStyle/>
        <a:p>
          <a:endParaRPr lang="en-US"/>
        </a:p>
      </dgm:t>
    </dgm:pt>
    <dgm:pt modelId="{1ED62ECA-CC9E-4C72-A269-A57E82712EC4}" type="sibTrans" cxnId="{5DDF0AEC-4656-48A7-BE9F-B7D7212B7B16}">
      <dgm:prSet/>
      <dgm:spPr/>
      <dgm:t>
        <a:bodyPr/>
        <a:lstStyle/>
        <a:p>
          <a:endParaRPr lang="en-US"/>
        </a:p>
      </dgm:t>
    </dgm:pt>
    <dgm:pt modelId="{9DA359BA-D786-48F4-9138-951120A5B098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2</a:t>
          </a:r>
          <a:endParaRPr lang="en-US" sz="2800" dirty="0">
            <a:latin typeface="Calibri" panose="020F0502020204030204" pitchFamily="34" charset="0"/>
          </a:endParaRPr>
        </a:p>
      </dgm:t>
    </dgm:pt>
    <dgm:pt modelId="{DCB9BF65-24B3-414E-8CF7-81940F1F9F6B}" type="parTrans" cxnId="{756C1331-C772-44A3-A2C2-9A96B480FB3A}">
      <dgm:prSet/>
      <dgm:spPr/>
      <dgm:t>
        <a:bodyPr/>
        <a:lstStyle/>
        <a:p>
          <a:endParaRPr lang="en-US"/>
        </a:p>
      </dgm:t>
    </dgm:pt>
    <dgm:pt modelId="{7D4B6436-D24E-474A-9EC8-D04A700E8850}" type="sibTrans" cxnId="{756C1331-C772-44A3-A2C2-9A96B480FB3A}">
      <dgm:prSet/>
      <dgm:spPr/>
      <dgm:t>
        <a:bodyPr/>
        <a:lstStyle/>
        <a:p>
          <a:endParaRPr lang="en-US"/>
        </a:p>
      </dgm:t>
    </dgm:pt>
    <dgm:pt modelId="{A4B5D2B2-F0F9-4DF6-A5EC-74202A2F9DBC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1</a:t>
          </a:r>
          <a:endParaRPr lang="en-US" sz="2800" dirty="0">
            <a:latin typeface="Calibri" panose="020F0502020204030204" pitchFamily="34" charset="0"/>
          </a:endParaRPr>
        </a:p>
      </dgm:t>
    </dgm:pt>
    <dgm:pt modelId="{75F47A1B-CD7D-4F1F-A629-DCCAF7EFBEDE}" type="parTrans" cxnId="{493CBCC2-F574-4BF1-B26C-879395947FCC}">
      <dgm:prSet/>
      <dgm:spPr/>
      <dgm:t>
        <a:bodyPr/>
        <a:lstStyle/>
        <a:p>
          <a:endParaRPr lang="en-US"/>
        </a:p>
      </dgm:t>
    </dgm:pt>
    <dgm:pt modelId="{85A4A524-1D45-4C00-9569-D0F4E0A0A769}" type="sibTrans" cxnId="{493CBCC2-F574-4BF1-B26C-879395947FCC}">
      <dgm:prSet/>
      <dgm:spPr/>
      <dgm:t>
        <a:bodyPr/>
        <a:lstStyle/>
        <a:p>
          <a:endParaRPr lang="en-US"/>
        </a:p>
      </dgm:t>
    </dgm:pt>
    <dgm:pt modelId="{F7F9CCCB-928B-4607-9C0D-F3754FB6DA6B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0</a:t>
          </a:r>
          <a:endParaRPr lang="en-US" sz="2800" dirty="0">
            <a:latin typeface="Calibri" panose="020F0502020204030204" pitchFamily="34" charset="0"/>
          </a:endParaRPr>
        </a:p>
      </dgm:t>
    </dgm:pt>
    <dgm:pt modelId="{6FDEE376-C82D-4F37-84FA-C8971A83ED6D}" type="parTrans" cxnId="{5B793361-55A9-4E16-B68F-129984F5C09D}">
      <dgm:prSet/>
      <dgm:spPr/>
      <dgm:t>
        <a:bodyPr/>
        <a:lstStyle/>
        <a:p>
          <a:endParaRPr lang="en-US"/>
        </a:p>
      </dgm:t>
    </dgm:pt>
    <dgm:pt modelId="{2B87F844-DA8F-45C1-B2EC-520389F90B46}" type="sibTrans" cxnId="{5B793361-55A9-4E16-B68F-129984F5C09D}">
      <dgm:prSet/>
      <dgm:spPr/>
      <dgm:t>
        <a:bodyPr/>
        <a:lstStyle/>
        <a:p>
          <a:endParaRPr lang="en-US"/>
        </a:p>
      </dgm:t>
    </dgm:pt>
    <dgm:pt modelId="{D957072F-66FF-42F7-AF49-BDB76FE77E90}" type="pres">
      <dgm:prSet presAssocID="{130E7702-CFFF-440A-BCE0-C76FD6DC7F03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DD94E40-E200-4FDD-A957-D71414FF547E}" type="pres">
      <dgm:prSet presAssocID="{130E7702-CFFF-440A-BCE0-C76FD6DC7F03}" presName="comp1" presStyleCnt="0"/>
      <dgm:spPr/>
    </dgm:pt>
    <dgm:pt modelId="{A1756296-C542-4FE7-9314-85298BD39BAA}" type="pres">
      <dgm:prSet presAssocID="{130E7702-CFFF-440A-BCE0-C76FD6DC7F03}" presName="circle1" presStyleLbl="node1" presStyleIdx="0" presStyleCnt="4"/>
      <dgm:spPr/>
      <dgm:t>
        <a:bodyPr/>
        <a:lstStyle/>
        <a:p>
          <a:endParaRPr lang="en-US"/>
        </a:p>
      </dgm:t>
    </dgm:pt>
    <dgm:pt modelId="{EF98A321-E4AB-4512-9218-24C416C6C191}" type="pres">
      <dgm:prSet presAssocID="{130E7702-CFFF-440A-BCE0-C76FD6DC7F03}" presName="c1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986DF7-0B2D-4DEB-AE1E-8F07C139A216}" type="pres">
      <dgm:prSet presAssocID="{130E7702-CFFF-440A-BCE0-C76FD6DC7F03}" presName="comp2" presStyleCnt="0"/>
      <dgm:spPr/>
    </dgm:pt>
    <dgm:pt modelId="{BA170D82-FF0A-47CB-BE71-7DB123384C1A}" type="pres">
      <dgm:prSet presAssocID="{130E7702-CFFF-440A-BCE0-C76FD6DC7F03}" presName="circle2" presStyleLbl="node1" presStyleIdx="1" presStyleCnt="4"/>
      <dgm:spPr/>
      <dgm:t>
        <a:bodyPr/>
        <a:lstStyle/>
        <a:p>
          <a:endParaRPr lang="en-US"/>
        </a:p>
      </dgm:t>
    </dgm:pt>
    <dgm:pt modelId="{3AFCEFD2-380D-4848-B00B-6927C7BA540B}" type="pres">
      <dgm:prSet presAssocID="{130E7702-CFFF-440A-BCE0-C76FD6DC7F03}" presName="c2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C35529-F610-483C-8B2D-3B9EF5DE5148}" type="pres">
      <dgm:prSet presAssocID="{130E7702-CFFF-440A-BCE0-C76FD6DC7F03}" presName="comp3" presStyleCnt="0"/>
      <dgm:spPr/>
    </dgm:pt>
    <dgm:pt modelId="{784EB3D6-C134-4BD3-A583-A1DF7303C402}" type="pres">
      <dgm:prSet presAssocID="{130E7702-CFFF-440A-BCE0-C76FD6DC7F03}" presName="circle3" presStyleLbl="node1" presStyleIdx="2" presStyleCnt="4"/>
      <dgm:spPr/>
      <dgm:t>
        <a:bodyPr/>
        <a:lstStyle/>
        <a:p>
          <a:endParaRPr lang="en-US"/>
        </a:p>
      </dgm:t>
    </dgm:pt>
    <dgm:pt modelId="{1885CE93-9E4E-4E4E-89A9-9DD3D92825EE}" type="pres">
      <dgm:prSet presAssocID="{130E7702-CFFF-440A-BCE0-C76FD6DC7F03}" presName="c3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709F0D-B415-45E5-A38D-C7B8CF61E9A3}" type="pres">
      <dgm:prSet presAssocID="{130E7702-CFFF-440A-BCE0-C76FD6DC7F03}" presName="comp4" presStyleCnt="0"/>
      <dgm:spPr/>
    </dgm:pt>
    <dgm:pt modelId="{B7DEB214-447C-4F57-80FE-850408C5D86A}" type="pres">
      <dgm:prSet presAssocID="{130E7702-CFFF-440A-BCE0-C76FD6DC7F03}" presName="circle4" presStyleLbl="node1" presStyleIdx="3" presStyleCnt="4"/>
      <dgm:spPr/>
      <dgm:t>
        <a:bodyPr/>
        <a:lstStyle/>
        <a:p>
          <a:endParaRPr lang="en-US"/>
        </a:p>
      </dgm:t>
    </dgm:pt>
    <dgm:pt modelId="{2CD29312-D62B-4181-8CA0-518C3C093A8F}" type="pres">
      <dgm:prSet presAssocID="{130E7702-CFFF-440A-BCE0-C76FD6DC7F03}" presName="c4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87364B5-18D5-4E39-8C19-7678A8863896}" type="presOf" srcId="{A4B5D2B2-F0F9-4DF6-A5EC-74202A2F9DBC}" destId="{1885CE93-9E4E-4E4E-89A9-9DD3D92825EE}" srcOrd="1" destOrd="0" presId="urn:microsoft.com/office/officeart/2005/8/layout/venn2"/>
    <dgm:cxn modelId="{EB664E50-E060-44F6-9671-270E2C61BF06}" type="presOf" srcId="{A4B5D2B2-F0F9-4DF6-A5EC-74202A2F9DBC}" destId="{784EB3D6-C134-4BD3-A583-A1DF7303C402}" srcOrd="0" destOrd="0" presId="urn:microsoft.com/office/officeart/2005/8/layout/venn2"/>
    <dgm:cxn modelId="{03C38194-AF71-484B-B6DC-10159CA724B6}" type="presOf" srcId="{3B2279E0-303B-4791-B6E5-EF938FBCF9D3}" destId="{A1756296-C542-4FE7-9314-85298BD39BAA}" srcOrd="0" destOrd="0" presId="urn:microsoft.com/office/officeart/2005/8/layout/venn2"/>
    <dgm:cxn modelId="{E81E7D60-2D96-4FF3-B897-68AAA71FBD62}" type="presOf" srcId="{F7F9CCCB-928B-4607-9C0D-F3754FB6DA6B}" destId="{B7DEB214-447C-4F57-80FE-850408C5D86A}" srcOrd="0" destOrd="0" presId="urn:microsoft.com/office/officeart/2005/8/layout/venn2"/>
    <dgm:cxn modelId="{1BECE5FC-B32E-4A79-BE2A-86688ED8C669}" type="presOf" srcId="{3B2279E0-303B-4791-B6E5-EF938FBCF9D3}" destId="{EF98A321-E4AB-4512-9218-24C416C6C191}" srcOrd="1" destOrd="0" presId="urn:microsoft.com/office/officeart/2005/8/layout/venn2"/>
    <dgm:cxn modelId="{5B793361-55A9-4E16-B68F-129984F5C09D}" srcId="{130E7702-CFFF-440A-BCE0-C76FD6DC7F03}" destId="{F7F9CCCB-928B-4607-9C0D-F3754FB6DA6B}" srcOrd="3" destOrd="0" parTransId="{6FDEE376-C82D-4F37-84FA-C8971A83ED6D}" sibTransId="{2B87F844-DA8F-45C1-B2EC-520389F90B46}"/>
    <dgm:cxn modelId="{5DDF0AEC-4656-48A7-BE9F-B7D7212B7B16}" srcId="{130E7702-CFFF-440A-BCE0-C76FD6DC7F03}" destId="{3B2279E0-303B-4791-B6E5-EF938FBCF9D3}" srcOrd="0" destOrd="0" parTransId="{4C06B380-C1BE-46BD-8EB0-BBE3574A2B64}" sibTransId="{1ED62ECA-CC9E-4C72-A269-A57E82712EC4}"/>
    <dgm:cxn modelId="{756C1331-C772-44A3-A2C2-9A96B480FB3A}" srcId="{130E7702-CFFF-440A-BCE0-C76FD6DC7F03}" destId="{9DA359BA-D786-48F4-9138-951120A5B098}" srcOrd="1" destOrd="0" parTransId="{DCB9BF65-24B3-414E-8CF7-81940F1F9F6B}" sibTransId="{7D4B6436-D24E-474A-9EC8-D04A700E8850}"/>
    <dgm:cxn modelId="{E2924B46-357B-41E5-9706-5B631820195E}" type="presOf" srcId="{F7F9CCCB-928B-4607-9C0D-F3754FB6DA6B}" destId="{2CD29312-D62B-4181-8CA0-518C3C093A8F}" srcOrd="1" destOrd="0" presId="urn:microsoft.com/office/officeart/2005/8/layout/venn2"/>
    <dgm:cxn modelId="{493CBCC2-F574-4BF1-B26C-879395947FCC}" srcId="{130E7702-CFFF-440A-BCE0-C76FD6DC7F03}" destId="{A4B5D2B2-F0F9-4DF6-A5EC-74202A2F9DBC}" srcOrd="2" destOrd="0" parTransId="{75F47A1B-CD7D-4F1F-A629-DCCAF7EFBEDE}" sibTransId="{85A4A524-1D45-4C00-9569-D0F4E0A0A769}"/>
    <dgm:cxn modelId="{66815F89-85E5-4B36-9814-39F3F882BD14}" type="presOf" srcId="{130E7702-CFFF-440A-BCE0-C76FD6DC7F03}" destId="{D957072F-66FF-42F7-AF49-BDB76FE77E90}" srcOrd="0" destOrd="0" presId="urn:microsoft.com/office/officeart/2005/8/layout/venn2"/>
    <dgm:cxn modelId="{B1226915-E17B-443A-AD4B-1FD55A88D7FC}" type="presOf" srcId="{9DA359BA-D786-48F4-9138-951120A5B098}" destId="{BA170D82-FF0A-47CB-BE71-7DB123384C1A}" srcOrd="0" destOrd="0" presId="urn:microsoft.com/office/officeart/2005/8/layout/venn2"/>
    <dgm:cxn modelId="{5C245298-D2A2-4140-BDE1-A96A5B7851B8}" type="presOf" srcId="{9DA359BA-D786-48F4-9138-951120A5B098}" destId="{3AFCEFD2-380D-4848-B00B-6927C7BA540B}" srcOrd="1" destOrd="0" presId="urn:microsoft.com/office/officeart/2005/8/layout/venn2"/>
    <dgm:cxn modelId="{FB877A04-6369-4B88-AE7E-0318DC8BAC6C}" type="presParOf" srcId="{D957072F-66FF-42F7-AF49-BDB76FE77E90}" destId="{CDD94E40-E200-4FDD-A957-D71414FF547E}" srcOrd="0" destOrd="0" presId="urn:microsoft.com/office/officeart/2005/8/layout/venn2"/>
    <dgm:cxn modelId="{90967D13-C23B-486C-8CFB-D746E7567414}" type="presParOf" srcId="{CDD94E40-E200-4FDD-A957-D71414FF547E}" destId="{A1756296-C542-4FE7-9314-85298BD39BAA}" srcOrd="0" destOrd="0" presId="urn:microsoft.com/office/officeart/2005/8/layout/venn2"/>
    <dgm:cxn modelId="{22261D43-2CB8-44E3-87EB-4C7ACAEF768A}" type="presParOf" srcId="{CDD94E40-E200-4FDD-A957-D71414FF547E}" destId="{EF98A321-E4AB-4512-9218-24C416C6C191}" srcOrd="1" destOrd="0" presId="urn:microsoft.com/office/officeart/2005/8/layout/venn2"/>
    <dgm:cxn modelId="{E73D6792-0743-4BF1-838C-A70C7BAEBF0D}" type="presParOf" srcId="{D957072F-66FF-42F7-AF49-BDB76FE77E90}" destId="{C9986DF7-0B2D-4DEB-AE1E-8F07C139A216}" srcOrd="1" destOrd="0" presId="urn:microsoft.com/office/officeart/2005/8/layout/venn2"/>
    <dgm:cxn modelId="{1080AD70-2FDD-413E-8848-E80543BD1A43}" type="presParOf" srcId="{C9986DF7-0B2D-4DEB-AE1E-8F07C139A216}" destId="{BA170D82-FF0A-47CB-BE71-7DB123384C1A}" srcOrd="0" destOrd="0" presId="urn:microsoft.com/office/officeart/2005/8/layout/venn2"/>
    <dgm:cxn modelId="{3FED3891-E88F-4662-8632-A764544EC2C6}" type="presParOf" srcId="{C9986DF7-0B2D-4DEB-AE1E-8F07C139A216}" destId="{3AFCEFD2-380D-4848-B00B-6927C7BA540B}" srcOrd="1" destOrd="0" presId="urn:microsoft.com/office/officeart/2005/8/layout/venn2"/>
    <dgm:cxn modelId="{F4B2AE1D-44B0-47D0-B6D7-D536C3C85795}" type="presParOf" srcId="{D957072F-66FF-42F7-AF49-BDB76FE77E90}" destId="{9BC35529-F610-483C-8B2D-3B9EF5DE5148}" srcOrd="2" destOrd="0" presId="urn:microsoft.com/office/officeart/2005/8/layout/venn2"/>
    <dgm:cxn modelId="{A9CC5EF2-183F-4CAB-82DC-EE4805361F23}" type="presParOf" srcId="{9BC35529-F610-483C-8B2D-3B9EF5DE5148}" destId="{784EB3D6-C134-4BD3-A583-A1DF7303C402}" srcOrd="0" destOrd="0" presId="urn:microsoft.com/office/officeart/2005/8/layout/venn2"/>
    <dgm:cxn modelId="{7DE131F7-0A90-4382-B37E-14D27C904F98}" type="presParOf" srcId="{9BC35529-F610-483C-8B2D-3B9EF5DE5148}" destId="{1885CE93-9E4E-4E4E-89A9-9DD3D92825EE}" srcOrd="1" destOrd="0" presId="urn:microsoft.com/office/officeart/2005/8/layout/venn2"/>
    <dgm:cxn modelId="{E93EB10E-E157-440E-8290-E016ECCF2889}" type="presParOf" srcId="{D957072F-66FF-42F7-AF49-BDB76FE77E90}" destId="{A0709F0D-B415-45E5-A38D-C7B8CF61E9A3}" srcOrd="3" destOrd="0" presId="urn:microsoft.com/office/officeart/2005/8/layout/venn2"/>
    <dgm:cxn modelId="{E08201E1-BAAE-4B28-A7EA-B0F524AC38D3}" type="presParOf" srcId="{A0709F0D-B415-45E5-A38D-C7B8CF61E9A3}" destId="{B7DEB214-447C-4F57-80FE-850408C5D86A}" srcOrd="0" destOrd="0" presId="urn:microsoft.com/office/officeart/2005/8/layout/venn2"/>
    <dgm:cxn modelId="{8DE63316-6938-4988-ACF7-EAE0446F2B2F}" type="presParOf" srcId="{A0709F0D-B415-45E5-A38D-C7B8CF61E9A3}" destId="{2CD29312-D62B-4181-8CA0-518C3C093A8F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130E7702-CFFF-440A-BCE0-C76FD6DC7F03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2279E0-303B-4791-B6E5-EF938FBCF9D3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2.0</a:t>
          </a:r>
          <a:endParaRPr lang="en-US" sz="2800" dirty="0">
            <a:latin typeface="Calibri" panose="020F0502020204030204" pitchFamily="34" charset="0"/>
          </a:endParaRPr>
        </a:p>
      </dgm:t>
    </dgm:pt>
    <dgm:pt modelId="{4C06B380-C1BE-46BD-8EB0-BBE3574A2B64}" type="parTrans" cxnId="{5DDF0AEC-4656-48A7-BE9F-B7D7212B7B16}">
      <dgm:prSet/>
      <dgm:spPr/>
      <dgm:t>
        <a:bodyPr/>
        <a:lstStyle/>
        <a:p>
          <a:endParaRPr lang="en-US"/>
        </a:p>
      </dgm:t>
    </dgm:pt>
    <dgm:pt modelId="{1ED62ECA-CC9E-4C72-A269-A57E82712EC4}" type="sibTrans" cxnId="{5DDF0AEC-4656-48A7-BE9F-B7D7212B7B16}">
      <dgm:prSet/>
      <dgm:spPr/>
      <dgm:t>
        <a:bodyPr/>
        <a:lstStyle/>
        <a:p>
          <a:endParaRPr lang="en-US"/>
        </a:p>
      </dgm:t>
    </dgm:pt>
    <dgm:pt modelId="{9DA359BA-D786-48F4-9138-951120A5B09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2800" dirty="0" smtClean="0">
              <a:solidFill>
                <a:schemeClr val="tx1"/>
              </a:solidFill>
              <a:latin typeface="Calibri" panose="020F0502020204030204" pitchFamily="34" charset="0"/>
            </a:rPr>
            <a:t>1.2</a:t>
          </a:r>
          <a:endParaRPr lang="en-US" sz="2800" dirty="0">
            <a:solidFill>
              <a:schemeClr val="tx1"/>
            </a:solidFill>
            <a:latin typeface="Calibri" panose="020F0502020204030204" pitchFamily="34" charset="0"/>
          </a:endParaRPr>
        </a:p>
      </dgm:t>
    </dgm:pt>
    <dgm:pt modelId="{DCB9BF65-24B3-414E-8CF7-81940F1F9F6B}" type="parTrans" cxnId="{756C1331-C772-44A3-A2C2-9A96B480FB3A}">
      <dgm:prSet/>
      <dgm:spPr/>
      <dgm:t>
        <a:bodyPr/>
        <a:lstStyle/>
        <a:p>
          <a:endParaRPr lang="en-US"/>
        </a:p>
      </dgm:t>
    </dgm:pt>
    <dgm:pt modelId="{7D4B6436-D24E-474A-9EC8-D04A700E8850}" type="sibTrans" cxnId="{756C1331-C772-44A3-A2C2-9A96B480FB3A}">
      <dgm:prSet/>
      <dgm:spPr/>
      <dgm:t>
        <a:bodyPr/>
        <a:lstStyle/>
        <a:p>
          <a:endParaRPr lang="en-US"/>
        </a:p>
      </dgm:t>
    </dgm:pt>
    <dgm:pt modelId="{A4B5D2B2-F0F9-4DF6-A5EC-74202A2F9DBC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1</a:t>
          </a:r>
          <a:endParaRPr lang="en-US" sz="2800" dirty="0">
            <a:latin typeface="Calibri" panose="020F0502020204030204" pitchFamily="34" charset="0"/>
          </a:endParaRPr>
        </a:p>
      </dgm:t>
    </dgm:pt>
    <dgm:pt modelId="{75F47A1B-CD7D-4F1F-A629-DCCAF7EFBEDE}" type="parTrans" cxnId="{493CBCC2-F574-4BF1-B26C-879395947FCC}">
      <dgm:prSet/>
      <dgm:spPr/>
      <dgm:t>
        <a:bodyPr/>
        <a:lstStyle/>
        <a:p>
          <a:endParaRPr lang="en-US"/>
        </a:p>
      </dgm:t>
    </dgm:pt>
    <dgm:pt modelId="{85A4A524-1D45-4C00-9569-D0F4E0A0A769}" type="sibTrans" cxnId="{493CBCC2-F574-4BF1-B26C-879395947FCC}">
      <dgm:prSet/>
      <dgm:spPr/>
      <dgm:t>
        <a:bodyPr/>
        <a:lstStyle/>
        <a:p>
          <a:endParaRPr lang="en-US"/>
        </a:p>
      </dgm:t>
    </dgm:pt>
    <dgm:pt modelId="{F7F9CCCB-928B-4607-9C0D-F3754FB6DA6B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0</a:t>
          </a:r>
          <a:endParaRPr lang="en-US" sz="2800" dirty="0">
            <a:latin typeface="Calibri" panose="020F0502020204030204" pitchFamily="34" charset="0"/>
          </a:endParaRPr>
        </a:p>
      </dgm:t>
    </dgm:pt>
    <dgm:pt modelId="{6FDEE376-C82D-4F37-84FA-C8971A83ED6D}" type="parTrans" cxnId="{5B793361-55A9-4E16-B68F-129984F5C09D}">
      <dgm:prSet/>
      <dgm:spPr/>
      <dgm:t>
        <a:bodyPr/>
        <a:lstStyle/>
        <a:p>
          <a:endParaRPr lang="en-US"/>
        </a:p>
      </dgm:t>
    </dgm:pt>
    <dgm:pt modelId="{2B87F844-DA8F-45C1-B2EC-520389F90B46}" type="sibTrans" cxnId="{5B793361-55A9-4E16-B68F-129984F5C09D}">
      <dgm:prSet/>
      <dgm:spPr/>
      <dgm:t>
        <a:bodyPr/>
        <a:lstStyle/>
        <a:p>
          <a:endParaRPr lang="en-US"/>
        </a:p>
      </dgm:t>
    </dgm:pt>
    <dgm:pt modelId="{D957072F-66FF-42F7-AF49-BDB76FE77E90}" type="pres">
      <dgm:prSet presAssocID="{130E7702-CFFF-440A-BCE0-C76FD6DC7F03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DD94E40-E200-4FDD-A957-D71414FF547E}" type="pres">
      <dgm:prSet presAssocID="{130E7702-CFFF-440A-BCE0-C76FD6DC7F03}" presName="comp1" presStyleCnt="0"/>
      <dgm:spPr/>
    </dgm:pt>
    <dgm:pt modelId="{A1756296-C542-4FE7-9314-85298BD39BAA}" type="pres">
      <dgm:prSet presAssocID="{130E7702-CFFF-440A-BCE0-C76FD6DC7F03}" presName="circle1" presStyleLbl="node1" presStyleIdx="0" presStyleCnt="4"/>
      <dgm:spPr/>
      <dgm:t>
        <a:bodyPr/>
        <a:lstStyle/>
        <a:p>
          <a:endParaRPr lang="en-US"/>
        </a:p>
      </dgm:t>
    </dgm:pt>
    <dgm:pt modelId="{EF98A321-E4AB-4512-9218-24C416C6C191}" type="pres">
      <dgm:prSet presAssocID="{130E7702-CFFF-440A-BCE0-C76FD6DC7F03}" presName="c1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986DF7-0B2D-4DEB-AE1E-8F07C139A216}" type="pres">
      <dgm:prSet presAssocID="{130E7702-CFFF-440A-BCE0-C76FD6DC7F03}" presName="comp2" presStyleCnt="0"/>
      <dgm:spPr/>
    </dgm:pt>
    <dgm:pt modelId="{BA170D82-FF0A-47CB-BE71-7DB123384C1A}" type="pres">
      <dgm:prSet presAssocID="{130E7702-CFFF-440A-BCE0-C76FD6DC7F03}" presName="circle2" presStyleLbl="node1" presStyleIdx="1" presStyleCnt="4"/>
      <dgm:spPr/>
      <dgm:t>
        <a:bodyPr/>
        <a:lstStyle/>
        <a:p>
          <a:endParaRPr lang="en-US"/>
        </a:p>
      </dgm:t>
    </dgm:pt>
    <dgm:pt modelId="{3AFCEFD2-380D-4848-B00B-6927C7BA540B}" type="pres">
      <dgm:prSet presAssocID="{130E7702-CFFF-440A-BCE0-C76FD6DC7F03}" presName="c2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C35529-F610-483C-8B2D-3B9EF5DE5148}" type="pres">
      <dgm:prSet presAssocID="{130E7702-CFFF-440A-BCE0-C76FD6DC7F03}" presName="comp3" presStyleCnt="0"/>
      <dgm:spPr/>
    </dgm:pt>
    <dgm:pt modelId="{784EB3D6-C134-4BD3-A583-A1DF7303C402}" type="pres">
      <dgm:prSet presAssocID="{130E7702-CFFF-440A-BCE0-C76FD6DC7F03}" presName="circle3" presStyleLbl="node1" presStyleIdx="2" presStyleCnt="4"/>
      <dgm:spPr/>
      <dgm:t>
        <a:bodyPr/>
        <a:lstStyle/>
        <a:p>
          <a:endParaRPr lang="en-US"/>
        </a:p>
      </dgm:t>
    </dgm:pt>
    <dgm:pt modelId="{1885CE93-9E4E-4E4E-89A9-9DD3D92825EE}" type="pres">
      <dgm:prSet presAssocID="{130E7702-CFFF-440A-BCE0-C76FD6DC7F03}" presName="c3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709F0D-B415-45E5-A38D-C7B8CF61E9A3}" type="pres">
      <dgm:prSet presAssocID="{130E7702-CFFF-440A-BCE0-C76FD6DC7F03}" presName="comp4" presStyleCnt="0"/>
      <dgm:spPr/>
    </dgm:pt>
    <dgm:pt modelId="{B7DEB214-447C-4F57-80FE-850408C5D86A}" type="pres">
      <dgm:prSet presAssocID="{130E7702-CFFF-440A-BCE0-C76FD6DC7F03}" presName="circle4" presStyleLbl="node1" presStyleIdx="3" presStyleCnt="4"/>
      <dgm:spPr/>
      <dgm:t>
        <a:bodyPr/>
        <a:lstStyle/>
        <a:p>
          <a:endParaRPr lang="en-US"/>
        </a:p>
      </dgm:t>
    </dgm:pt>
    <dgm:pt modelId="{2CD29312-D62B-4181-8CA0-518C3C093A8F}" type="pres">
      <dgm:prSet presAssocID="{130E7702-CFFF-440A-BCE0-C76FD6DC7F03}" presName="c4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AA43D91-7AD6-47A9-BB91-CEA076CB403C}" type="presOf" srcId="{3B2279E0-303B-4791-B6E5-EF938FBCF9D3}" destId="{A1756296-C542-4FE7-9314-85298BD39BAA}" srcOrd="0" destOrd="0" presId="urn:microsoft.com/office/officeart/2005/8/layout/venn2"/>
    <dgm:cxn modelId="{1B8A32CA-726D-47A8-A16C-CF6C95C9351A}" type="presOf" srcId="{F7F9CCCB-928B-4607-9C0D-F3754FB6DA6B}" destId="{2CD29312-D62B-4181-8CA0-518C3C093A8F}" srcOrd="1" destOrd="0" presId="urn:microsoft.com/office/officeart/2005/8/layout/venn2"/>
    <dgm:cxn modelId="{5B793361-55A9-4E16-B68F-129984F5C09D}" srcId="{130E7702-CFFF-440A-BCE0-C76FD6DC7F03}" destId="{F7F9CCCB-928B-4607-9C0D-F3754FB6DA6B}" srcOrd="3" destOrd="0" parTransId="{6FDEE376-C82D-4F37-84FA-C8971A83ED6D}" sibTransId="{2B87F844-DA8F-45C1-B2EC-520389F90B46}"/>
    <dgm:cxn modelId="{AF4AEB29-53D6-4F09-9C15-ADB93E534F16}" type="presOf" srcId="{9DA359BA-D786-48F4-9138-951120A5B098}" destId="{BA170D82-FF0A-47CB-BE71-7DB123384C1A}" srcOrd="0" destOrd="0" presId="urn:microsoft.com/office/officeart/2005/8/layout/venn2"/>
    <dgm:cxn modelId="{5DDF0AEC-4656-48A7-BE9F-B7D7212B7B16}" srcId="{130E7702-CFFF-440A-BCE0-C76FD6DC7F03}" destId="{3B2279E0-303B-4791-B6E5-EF938FBCF9D3}" srcOrd="0" destOrd="0" parTransId="{4C06B380-C1BE-46BD-8EB0-BBE3574A2B64}" sibTransId="{1ED62ECA-CC9E-4C72-A269-A57E82712EC4}"/>
    <dgm:cxn modelId="{D30ED336-8082-431B-9587-2F36953B6122}" type="presOf" srcId="{A4B5D2B2-F0F9-4DF6-A5EC-74202A2F9DBC}" destId="{1885CE93-9E4E-4E4E-89A9-9DD3D92825EE}" srcOrd="1" destOrd="0" presId="urn:microsoft.com/office/officeart/2005/8/layout/venn2"/>
    <dgm:cxn modelId="{756C1331-C772-44A3-A2C2-9A96B480FB3A}" srcId="{130E7702-CFFF-440A-BCE0-C76FD6DC7F03}" destId="{9DA359BA-D786-48F4-9138-951120A5B098}" srcOrd="1" destOrd="0" parTransId="{DCB9BF65-24B3-414E-8CF7-81940F1F9F6B}" sibTransId="{7D4B6436-D24E-474A-9EC8-D04A700E8850}"/>
    <dgm:cxn modelId="{EAF3B7D9-A884-485B-A177-1FBFE447532F}" type="presOf" srcId="{F7F9CCCB-928B-4607-9C0D-F3754FB6DA6B}" destId="{B7DEB214-447C-4F57-80FE-850408C5D86A}" srcOrd="0" destOrd="0" presId="urn:microsoft.com/office/officeart/2005/8/layout/venn2"/>
    <dgm:cxn modelId="{62D78A0D-FF33-421B-B282-E3FF9C5BD825}" type="presOf" srcId="{A4B5D2B2-F0F9-4DF6-A5EC-74202A2F9DBC}" destId="{784EB3D6-C134-4BD3-A583-A1DF7303C402}" srcOrd="0" destOrd="0" presId="urn:microsoft.com/office/officeart/2005/8/layout/venn2"/>
    <dgm:cxn modelId="{1AF1C331-F599-4175-971A-5535260EFA07}" type="presOf" srcId="{9DA359BA-D786-48F4-9138-951120A5B098}" destId="{3AFCEFD2-380D-4848-B00B-6927C7BA540B}" srcOrd="1" destOrd="0" presId="urn:microsoft.com/office/officeart/2005/8/layout/venn2"/>
    <dgm:cxn modelId="{493CBCC2-F574-4BF1-B26C-879395947FCC}" srcId="{130E7702-CFFF-440A-BCE0-C76FD6DC7F03}" destId="{A4B5D2B2-F0F9-4DF6-A5EC-74202A2F9DBC}" srcOrd="2" destOrd="0" parTransId="{75F47A1B-CD7D-4F1F-A629-DCCAF7EFBEDE}" sibTransId="{85A4A524-1D45-4C00-9569-D0F4E0A0A769}"/>
    <dgm:cxn modelId="{4A1EF203-4F5C-41FB-AA72-771D9769C7C5}" type="presOf" srcId="{3B2279E0-303B-4791-B6E5-EF938FBCF9D3}" destId="{EF98A321-E4AB-4512-9218-24C416C6C191}" srcOrd="1" destOrd="0" presId="urn:microsoft.com/office/officeart/2005/8/layout/venn2"/>
    <dgm:cxn modelId="{9A125E60-02D2-423A-9589-5F339DE36867}" type="presOf" srcId="{130E7702-CFFF-440A-BCE0-C76FD6DC7F03}" destId="{D957072F-66FF-42F7-AF49-BDB76FE77E90}" srcOrd="0" destOrd="0" presId="urn:microsoft.com/office/officeart/2005/8/layout/venn2"/>
    <dgm:cxn modelId="{46C85577-D354-41F6-87E1-7E169F96DFED}" type="presParOf" srcId="{D957072F-66FF-42F7-AF49-BDB76FE77E90}" destId="{CDD94E40-E200-4FDD-A957-D71414FF547E}" srcOrd="0" destOrd="0" presId="urn:microsoft.com/office/officeart/2005/8/layout/venn2"/>
    <dgm:cxn modelId="{CFA92B97-E5D4-43AF-B740-E25EE85307E5}" type="presParOf" srcId="{CDD94E40-E200-4FDD-A957-D71414FF547E}" destId="{A1756296-C542-4FE7-9314-85298BD39BAA}" srcOrd="0" destOrd="0" presId="urn:microsoft.com/office/officeart/2005/8/layout/venn2"/>
    <dgm:cxn modelId="{2BC6F494-3B6C-4CF7-92BE-52C8BDD22A23}" type="presParOf" srcId="{CDD94E40-E200-4FDD-A957-D71414FF547E}" destId="{EF98A321-E4AB-4512-9218-24C416C6C191}" srcOrd="1" destOrd="0" presId="urn:microsoft.com/office/officeart/2005/8/layout/venn2"/>
    <dgm:cxn modelId="{5090640D-A3C4-4FF4-AF12-B7AC01957DA3}" type="presParOf" srcId="{D957072F-66FF-42F7-AF49-BDB76FE77E90}" destId="{C9986DF7-0B2D-4DEB-AE1E-8F07C139A216}" srcOrd="1" destOrd="0" presId="urn:microsoft.com/office/officeart/2005/8/layout/venn2"/>
    <dgm:cxn modelId="{CBD24226-B245-4667-87CC-9C442882D343}" type="presParOf" srcId="{C9986DF7-0B2D-4DEB-AE1E-8F07C139A216}" destId="{BA170D82-FF0A-47CB-BE71-7DB123384C1A}" srcOrd="0" destOrd="0" presId="urn:microsoft.com/office/officeart/2005/8/layout/venn2"/>
    <dgm:cxn modelId="{0BA80558-E0E5-4A1D-B7C1-E3410353D274}" type="presParOf" srcId="{C9986DF7-0B2D-4DEB-AE1E-8F07C139A216}" destId="{3AFCEFD2-380D-4848-B00B-6927C7BA540B}" srcOrd="1" destOrd="0" presId="urn:microsoft.com/office/officeart/2005/8/layout/venn2"/>
    <dgm:cxn modelId="{0E9F5221-9DBE-4D5B-9DC1-1F6A733F2B39}" type="presParOf" srcId="{D957072F-66FF-42F7-AF49-BDB76FE77E90}" destId="{9BC35529-F610-483C-8B2D-3B9EF5DE5148}" srcOrd="2" destOrd="0" presId="urn:microsoft.com/office/officeart/2005/8/layout/venn2"/>
    <dgm:cxn modelId="{E9C44938-543A-47D4-BA3E-855A71AD9B5B}" type="presParOf" srcId="{9BC35529-F610-483C-8B2D-3B9EF5DE5148}" destId="{784EB3D6-C134-4BD3-A583-A1DF7303C402}" srcOrd="0" destOrd="0" presId="urn:microsoft.com/office/officeart/2005/8/layout/venn2"/>
    <dgm:cxn modelId="{EF5598E4-35E9-4223-A82D-CE64DEE2CED6}" type="presParOf" srcId="{9BC35529-F610-483C-8B2D-3B9EF5DE5148}" destId="{1885CE93-9E4E-4E4E-89A9-9DD3D92825EE}" srcOrd="1" destOrd="0" presId="urn:microsoft.com/office/officeart/2005/8/layout/venn2"/>
    <dgm:cxn modelId="{B831BEA9-D219-429D-83B0-A4DEB3AD2CD4}" type="presParOf" srcId="{D957072F-66FF-42F7-AF49-BDB76FE77E90}" destId="{A0709F0D-B415-45E5-A38D-C7B8CF61E9A3}" srcOrd="3" destOrd="0" presId="urn:microsoft.com/office/officeart/2005/8/layout/venn2"/>
    <dgm:cxn modelId="{FBA46C51-63B3-4297-B982-D5C2ECB9BABA}" type="presParOf" srcId="{A0709F0D-B415-45E5-A38D-C7B8CF61E9A3}" destId="{B7DEB214-447C-4F57-80FE-850408C5D86A}" srcOrd="0" destOrd="0" presId="urn:microsoft.com/office/officeart/2005/8/layout/venn2"/>
    <dgm:cxn modelId="{8C322B27-4DC3-4964-8A00-D06D717FB199}" type="presParOf" srcId="{A0709F0D-B415-45E5-A38D-C7B8CF61E9A3}" destId="{2CD29312-D62B-4181-8CA0-518C3C093A8F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4C74DE8-12C7-41F8-9D71-3443268FA694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9CB8247C-97A5-4B69-B312-3A458377F6B6}">
      <dgm:prSet phldrT="[Text]"/>
      <dgm:spPr/>
      <dgm:t>
        <a:bodyPr/>
        <a:lstStyle/>
        <a:p>
          <a:r>
            <a:rPr lang="en-US" dirty="0" smtClean="0"/>
            <a:t>Structural Design of Technology</a:t>
          </a:r>
          <a:endParaRPr lang="en-US" dirty="0"/>
        </a:p>
      </dgm:t>
    </dgm:pt>
    <dgm:pt modelId="{7CE4F67E-0727-4E75-8876-23374E5237CB}" type="parTrans" cxnId="{14DE11DD-522F-4592-B63D-041ABC9D2D53}">
      <dgm:prSet/>
      <dgm:spPr/>
      <dgm:t>
        <a:bodyPr/>
        <a:lstStyle/>
        <a:p>
          <a:endParaRPr lang="en-US"/>
        </a:p>
      </dgm:t>
    </dgm:pt>
    <dgm:pt modelId="{48714E6A-E851-4EB4-8854-9A5461A9D633}" type="sibTrans" cxnId="{14DE11DD-522F-4592-B63D-041ABC9D2D53}">
      <dgm:prSet/>
      <dgm:spPr/>
      <dgm:t>
        <a:bodyPr/>
        <a:lstStyle/>
        <a:p>
          <a:endParaRPr lang="en-US"/>
        </a:p>
      </dgm:t>
    </dgm:pt>
    <dgm:pt modelId="{080AEF3C-1545-42A5-99E7-0ACF8484172C}">
      <dgm:prSet phldrT="[Text]"/>
      <dgm:spPr/>
      <dgm:t>
        <a:bodyPr/>
        <a:lstStyle/>
        <a:p>
          <a:r>
            <a:rPr lang="en-US" dirty="0" smtClean="0"/>
            <a:t>Development Plan</a:t>
          </a:r>
          <a:endParaRPr lang="en-US" dirty="0"/>
        </a:p>
      </dgm:t>
    </dgm:pt>
    <dgm:pt modelId="{1EDAC2DA-C927-4260-8E7A-33387F27C605}" type="parTrans" cxnId="{54BD4616-F2A1-42DB-A183-86C334EEF024}">
      <dgm:prSet/>
      <dgm:spPr/>
      <dgm:t>
        <a:bodyPr/>
        <a:lstStyle/>
        <a:p>
          <a:endParaRPr lang="en-US"/>
        </a:p>
      </dgm:t>
    </dgm:pt>
    <dgm:pt modelId="{27584AE6-C0E9-44B0-8D37-DF765934D0F3}" type="sibTrans" cxnId="{54BD4616-F2A1-42DB-A183-86C334EEF024}">
      <dgm:prSet/>
      <dgm:spPr/>
      <dgm:t>
        <a:bodyPr/>
        <a:lstStyle/>
        <a:p>
          <a:endParaRPr lang="en-US"/>
        </a:p>
      </dgm:t>
    </dgm:pt>
    <dgm:pt modelId="{6C80A114-5BB0-418D-A898-02F411C2C22F}">
      <dgm:prSet phldrT="[Text]"/>
      <dgm:spPr/>
      <dgm:t>
        <a:bodyPr/>
        <a:lstStyle/>
        <a:p>
          <a:r>
            <a:rPr lang="en-US" dirty="0" smtClean="0"/>
            <a:t>Time and cost of Development</a:t>
          </a:r>
          <a:endParaRPr lang="en-US" dirty="0"/>
        </a:p>
      </dgm:t>
    </dgm:pt>
    <dgm:pt modelId="{4C23B82D-0D5C-4F10-8327-2A1FF9BBA204}" type="parTrans" cxnId="{2265843D-817C-4797-8CB3-1D954C488440}">
      <dgm:prSet/>
      <dgm:spPr/>
      <dgm:t>
        <a:bodyPr/>
        <a:lstStyle/>
        <a:p>
          <a:endParaRPr lang="en-US"/>
        </a:p>
      </dgm:t>
    </dgm:pt>
    <dgm:pt modelId="{C38889B0-4508-4FD6-82A8-B128F362E405}" type="sibTrans" cxnId="{2265843D-817C-4797-8CB3-1D954C488440}">
      <dgm:prSet/>
      <dgm:spPr/>
      <dgm:t>
        <a:bodyPr/>
        <a:lstStyle/>
        <a:p>
          <a:endParaRPr lang="en-US"/>
        </a:p>
      </dgm:t>
    </dgm:pt>
    <dgm:pt modelId="{0A4AD5C3-16A3-4D8B-95C3-41EA4E459664}" type="pres">
      <dgm:prSet presAssocID="{D4C74DE8-12C7-41F8-9D71-3443268FA694}" presName="Name0" presStyleCnt="0">
        <dgm:presLayoutVars>
          <dgm:dir/>
          <dgm:resizeHandles val="exact"/>
        </dgm:presLayoutVars>
      </dgm:prSet>
      <dgm:spPr/>
    </dgm:pt>
    <dgm:pt modelId="{D18DC2F4-B825-4280-A0A1-5ED9A82EEFCD}" type="pres">
      <dgm:prSet presAssocID="{9CB8247C-97A5-4B69-B312-3A458377F6B6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D5DB63-E5E4-4F73-9E69-49DC9F36702E}" type="pres">
      <dgm:prSet presAssocID="{48714E6A-E851-4EB4-8854-9A5461A9D633}" presName="sibTrans" presStyleLbl="sibTrans2D1" presStyleIdx="0" presStyleCnt="2"/>
      <dgm:spPr/>
      <dgm:t>
        <a:bodyPr/>
        <a:lstStyle/>
        <a:p>
          <a:endParaRPr lang="en-US"/>
        </a:p>
      </dgm:t>
    </dgm:pt>
    <dgm:pt modelId="{53D5BFFC-EEF7-4FC7-B8DB-7BD6AD0362BA}" type="pres">
      <dgm:prSet presAssocID="{48714E6A-E851-4EB4-8854-9A5461A9D633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E8DFCEE2-E27D-4221-A2BD-FCB3395102A3}" type="pres">
      <dgm:prSet presAssocID="{080AEF3C-1545-42A5-99E7-0ACF8484172C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99BD0A-961F-4FA4-8DB5-C8E14357CE4A}" type="pres">
      <dgm:prSet presAssocID="{27584AE6-C0E9-44B0-8D37-DF765934D0F3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9F77B86-1856-4220-8CA3-866596F56FE2}" type="pres">
      <dgm:prSet presAssocID="{27584AE6-C0E9-44B0-8D37-DF765934D0F3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8DE2D0DA-2CBB-4E98-BE9B-C67555D60024}" type="pres">
      <dgm:prSet presAssocID="{6C80A114-5BB0-418D-A898-02F411C2C22F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41D1F3D-BD86-4751-8343-9C49A0A64985}" type="presOf" srcId="{27584AE6-C0E9-44B0-8D37-DF765934D0F3}" destId="{AF99BD0A-961F-4FA4-8DB5-C8E14357CE4A}" srcOrd="0" destOrd="0" presId="urn:microsoft.com/office/officeart/2005/8/layout/process1"/>
    <dgm:cxn modelId="{54BD4616-F2A1-42DB-A183-86C334EEF024}" srcId="{D4C74DE8-12C7-41F8-9D71-3443268FA694}" destId="{080AEF3C-1545-42A5-99E7-0ACF8484172C}" srcOrd="1" destOrd="0" parTransId="{1EDAC2DA-C927-4260-8E7A-33387F27C605}" sibTransId="{27584AE6-C0E9-44B0-8D37-DF765934D0F3}"/>
    <dgm:cxn modelId="{BF480F22-3F45-4B67-A5D4-B0EB0DFE4DF1}" type="presOf" srcId="{9CB8247C-97A5-4B69-B312-3A458377F6B6}" destId="{D18DC2F4-B825-4280-A0A1-5ED9A82EEFCD}" srcOrd="0" destOrd="0" presId="urn:microsoft.com/office/officeart/2005/8/layout/process1"/>
    <dgm:cxn modelId="{14DE11DD-522F-4592-B63D-041ABC9D2D53}" srcId="{D4C74DE8-12C7-41F8-9D71-3443268FA694}" destId="{9CB8247C-97A5-4B69-B312-3A458377F6B6}" srcOrd="0" destOrd="0" parTransId="{7CE4F67E-0727-4E75-8876-23374E5237CB}" sibTransId="{48714E6A-E851-4EB4-8854-9A5461A9D633}"/>
    <dgm:cxn modelId="{2265843D-817C-4797-8CB3-1D954C488440}" srcId="{D4C74DE8-12C7-41F8-9D71-3443268FA694}" destId="{6C80A114-5BB0-418D-A898-02F411C2C22F}" srcOrd="2" destOrd="0" parTransId="{4C23B82D-0D5C-4F10-8327-2A1FF9BBA204}" sibTransId="{C38889B0-4508-4FD6-82A8-B128F362E405}"/>
    <dgm:cxn modelId="{1172A5F1-E430-4873-A66C-0594A007DCF3}" type="presOf" srcId="{27584AE6-C0E9-44B0-8D37-DF765934D0F3}" destId="{39F77B86-1856-4220-8CA3-866596F56FE2}" srcOrd="1" destOrd="0" presId="urn:microsoft.com/office/officeart/2005/8/layout/process1"/>
    <dgm:cxn modelId="{E79D11CA-32C2-4C13-ADC7-4C6F3A57F5FA}" type="presOf" srcId="{080AEF3C-1545-42A5-99E7-0ACF8484172C}" destId="{E8DFCEE2-E27D-4221-A2BD-FCB3395102A3}" srcOrd="0" destOrd="0" presId="urn:microsoft.com/office/officeart/2005/8/layout/process1"/>
    <dgm:cxn modelId="{32735689-D8EF-49FD-A05D-66C8F14E554B}" type="presOf" srcId="{6C80A114-5BB0-418D-A898-02F411C2C22F}" destId="{8DE2D0DA-2CBB-4E98-BE9B-C67555D60024}" srcOrd="0" destOrd="0" presId="urn:microsoft.com/office/officeart/2005/8/layout/process1"/>
    <dgm:cxn modelId="{047CF0AB-C1EB-4702-81BF-7FC9AFA34B70}" type="presOf" srcId="{48714E6A-E851-4EB4-8854-9A5461A9D633}" destId="{53D5BFFC-EEF7-4FC7-B8DB-7BD6AD0362BA}" srcOrd="1" destOrd="0" presId="urn:microsoft.com/office/officeart/2005/8/layout/process1"/>
    <dgm:cxn modelId="{0B3A52DE-9ED3-4A9F-80D0-2B1F65D99584}" type="presOf" srcId="{D4C74DE8-12C7-41F8-9D71-3443268FA694}" destId="{0A4AD5C3-16A3-4D8B-95C3-41EA4E459664}" srcOrd="0" destOrd="0" presId="urn:microsoft.com/office/officeart/2005/8/layout/process1"/>
    <dgm:cxn modelId="{1C17DCB4-FC6E-4764-AB0F-E47ABB424378}" type="presOf" srcId="{48714E6A-E851-4EB4-8854-9A5461A9D633}" destId="{2AD5DB63-E5E4-4F73-9E69-49DC9F36702E}" srcOrd="0" destOrd="0" presId="urn:microsoft.com/office/officeart/2005/8/layout/process1"/>
    <dgm:cxn modelId="{015DCC24-DC74-4391-95AC-E750AB8415C7}" type="presParOf" srcId="{0A4AD5C3-16A3-4D8B-95C3-41EA4E459664}" destId="{D18DC2F4-B825-4280-A0A1-5ED9A82EEFCD}" srcOrd="0" destOrd="0" presId="urn:microsoft.com/office/officeart/2005/8/layout/process1"/>
    <dgm:cxn modelId="{BE6BCF73-5D8A-48DA-B97D-C0F6706E671F}" type="presParOf" srcId="{0A4AD5C3-16A3-4D8B-95C3-41EA4E459664}" destId="{2AD5DB63-E5E4-4F73-9E69-49DC9F36702E}" srcOrd="1" destOrd="0" presId="urn:microsoft.com/office/officeart/2005/8/layout/process1"/>
    <dgm:cxn modelId="{DE3A6984-861D-41DA-AF1B-26674B788F71}" type="presParOf" srcId="{2AD5DB63-E5E4-4F73-9E69-49DC9F36702E}" destId="{53D5BFFC-EEF7-4FC7-B8DB-7BD6AD0362BA}" srcOrd="0" destOrd="0" presId="urn:microsoft.com/office/officeart/2005/8/layout/process1"/>
    <dgm:cxn modelId="{2FE5DE1B-A324-46B1-945B-9C9792986212}" type="presParOf" srcId="{0A4AD5C3-16A3-4D8B-95C3-41EA4E459664}" destId="{E8DFCEE2-E27D-4221-A2BD-FCB3395102A3}" srcOrd="2" destOrd="0" presId="urn:microsoft.com/office/officeart/2005/8/layout/process1"/>
    <dgm:cxn modelId="{F353426F-200B-45A5-9F87-902F0D4D6A8A}" type="presParOf" srcId="{0A4AD5C3-16A3-4D8B-95C3-41EA4E459664}" destId="{AF99BD0A-961F-4FA4-8DB5-C8E14357CE4A}" srcOrd="3" destOrd="0" presId="urn:microsoft.com/office/officeart/2005/8/layout/process1"/>
    <dgm:cxn modelId="{75866113-C0E4-4FFD-BBD5-D70D42A1AB74}" type="presParOf" srcId="{AF99BD0A-961F-4FA4-8DB5-C8E14357CE4A}" destId="{39F77B86-1856-4220-8CA3-866596F56FE2}" srcOrd="0" destOrd="0" presId="urn:microsoft.com/office/officeart/2005/8/layout/process1"/>
    <dgm:cxn modelId="{992CEAFD-DBE6-42D6-9C63-7AF4DDA38CF3}" type="presParOf" srcId="{0A4AD5C3-16A3-4D8B-95C3-41EA4E459664}" destId="{8DE2D0DA-2CBB-4E98-BE9B-C67555D60024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C74DE8-12C7-41F8-9D71-3443268FA694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9CB8247C-97A5-4B69-B312-3A458377F6B6}">
      <dgm:prSet phldrT="[Text]"/>
      <dgm:spPr/>
      <dgm:t>
        <a:bodyPr/>
        <a:lstStyle/>
        <a:p>
          <a:r>
            <a:rPr lang="en-US" dirty="0" smtClean="0"/>
            <a:t>Proposal Writing</a:t>
          </a:r>
          <a:endParaRPr lang="en-US" dirty="0"/>
        </a:p>
      </dgm:t>
    </dgm:pt>
    <dgm:pt modelId="{7CE4F67E-0727-4E75-8876-23374E5237CB}" type="parTrans" cxnId="{14DE11DD-522F-4592-B63D-041ABC9D2D53}">
      <dgm:prSet/>
      <dgm:spPr/>
      <dgm:t>
        <a:bodyPr/>
        <a:lstStyle/>
        <a:p>
          <a:endParaRPr lang="en-US"/>
        </a:p>
      </dgm:t>
    </dgm:pt>
    <dgm:pt modelId="{48714E6A-E851-4EB4-8854-9A5461A9D633}" type="sibTrans" cxnId="{14DE11DD-522F-4592-B63D-041ABC9D2D53}">
      <dgm:prSet/>
      <dgm:spPr/>
      <dgm:t>
        <a:bodyPr/>
        <a:lstStyle/>
        <a:p>
          <a:endParaRPr lang="en-US"/>
        </a:p>
      </dgm:t>
    </dgm:pt>
    <dgm:pt modelId="{080AEF3C-1545-42A5-99E7-0ACF8484172C}">
      <dgm:prSet phldrT="[Text]"/>
      <dgm:spPr/>
      <dgm:t>
        <a:bodyPr/>
        <a:lstStyle/>
        <a:p>
          <a:r>
            <a:rPr lang="en-US" dirty="0" smtClean="0"/>
            <a:t>Delivery &amp; Marking</a:t>
          </a:r>
          <a:endParaRPr lang="en-US" dirty="0"/>
        </a:p>
      </dgm:t>
    </dgm:pt>
    <dgm:pt modelId="{1EDAC2DA-C927-4260-8E7A-33387F27C605}" type="parTrans" cxnId="{54BD4616-F2A1-42DB-A183-86C334EEF024}">
      <dgm:prSet/>
      <dgm:spPr/>
      <dgm:t>
        <a:bodyPr/>
        <a:lstStyle/>
        <a:p>
          <a:endParaRPr lang="en-US"/>
        </a:p>
      </dgm:t>
    </dgm:pt>
    <dgm:pt modelId="{27584AE6-C0E9-44B0-8D37-DF765934D0F3}" type="sibTrans" cxnId="{54BD4616-F2A1-42DB-A183-86C334EEF024}">
      <dgm:prSet/>
      <dgm:spPr/>
      <dgm:t>
        <a:bodyPr/>
        <a:lstStyle/>
        <a:p>
          <a:endParaRPr lang="en-US"/>
        </a:p>
      </dgm:t>
    </dgm:pt>
    <dgm:pt modelId="{6C80A114-5BB0-418D-A898-02F411C2C22F}">
      <dgm:prSet phldrT="[Text]"/>
      <dgm:spPr/>
      <dgm:t>
        <a:bodyPr/>
        <a:lstStyle/>
        <a:p>
          <a:r>
            <a:rPr lang="en-US" dirty="0" smtClean="0"/>
            <a:t>Maintaining “Inventory”</a:t>
          </a:r>
          <a:endParaRPr lang="en-US" dirty="0"/>
        </a:p>
      </dgm:t>
    </dgm:pt>
    <dgm:pt modelId="{4C23B82D-0D5C-4F10-8327-2A1FF9BBA204}" type="parTrans" cxnId="{2265843D-817C-4797-8CB3-1D954C488440}">
      <dgm:prSet/>
      <dgm:spPr/>
      <dgm:t>
        <a:bodyPr/>
        <a:lstStyle/>
        <a:p>
          <a:endParaRPr lang="en-US"/>
        </a:p>
      </dgm:t>
    </dgm:pt>
    <dgm:pt modelId="{C38889B0-4508-4FD6-82A8-B128F362E405}" type="sibTrans" cxnId="{2265843D-817C-4797-8CB3-1D954C488440}">
      <dgm:prSet/>
      <dgm:spPr/>
      <dgm:t>
        <a:bodyPr/>
        <a:lstStyle/>
        <a:p>
          <a:endParaRPr lang="en-US"/>
        </a:p>
      </dgm:t>
    </dgm:pt>
    <dgm:pt modelId="{0A4AD5C3-16A3-4D8B-95C3-41EA4E459664}" type="pres">
      <dgm:prSet presAssocID="{D4C74DE8-12C7-41F8-9D71-3443268FA694}" presName="Name0" presStyleCnt="0">
        <dgm:presLayoutVars>
          <dgm:dir/>
          <dgm:resizeHandles val="exact"/>
        </dgm:presLayoutVars>
      </dgm:prSet>
      <dgm:spPr/>
    </dgm:pt>
    <dgm:pt modelId="{D18DC2F4-B825-4280-A0A1-5ED9A82EEFCD}" type="pres">
      <dgm:prSet presAssocID="{9CB8247C-97A5-4B69-B312-3A458377F6B6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D5DB63-E5E4-4F73-9E69-49DC9F36702E}" type="pres">
      <dgm:prSet presAssocID="{48714E6A-E851-4EB4-8854-9A5461A9D633}" presName="sibTrans" presStyleLbl="sibTrans2D1" presStyleIdx="0" presStyleCnt="2"/>
      <dgm:spPr/>
      <dgm:t>
        <a:bodyPr/>
        <a:lstStyle/>
        <a:p>
          <a:endParaRPr lang="en-US"/>
        </a:p>
      </dgm:t>
    </dgm:pt>
    <dgm:pt modelId="{53D5BFFC-EEF7-4FC7-B8DB-7BD6AD0362BA}" type="pres">
      <dgm:prSet presAssocID="{48714E6A-E851-4EB4-8854-9A5461A9D633}" presName="connectorText" presStyleLbl="sibTrans2D1" presStyleIdx="0" presStyleCnt="2"/>
      <dgm:spPr/>
      <dgm:t>
        <a:bodyPr/>
        <a:lstStyle/>
        <a:p>
          <a:endParaRPr lang="en-US"/>
        </a:p>
      </dgm:t>
    </dgm:pt>
    <dgm:pt modelId="{E8DFCEE2-E27D-4221-A2BD-FCB3395102A3}" type="pres">
      <dgm:prSet presAssocID="{080AEF3C-1545-42A5-99E7-0ACF8484172C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99BD0A-961F-4FA4-8DB5-C8E14357CE4A}" type="pres">
      <dgm:prSet presAssocID="{27584AE6-C0E9-44B0-8D37-DF765934D0F3}" presName="sibTrans" presStyleLbl="sibTrans2D1" presStyleIdx="1" presStyleCnt="2"/>
      <dgm:spPr/>
      <dgm:t>
        <a:bodyPr/>
        <a:lstStyle/>
        <a:p>
          <a:endParaRPr lang="en-US"/>
        </a:p>
      </dgm:t>
    </dgm:pt>
    <dgm:pt modelId="{39F77B86-1856-4220-8CA3-866596F56FE2}" type="pres">
      <dgm:prSet presAssocID="{27584AE6-C0E9-44B0-8D37-DF765934D0F3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8DE2D0DA-2CBB-4E98-BE9B-C67555D60024}" type="pres">
      <dgm:prSet presAssocID="{6C80A114-5BB0-418D-A898-02F411C2C22F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5F295F9-12BF-4484-A691-9CBD6A6FCF4C}" type="presOf" srcId="{27584AE6-C0E9-44B0-8D37-DF765934D0F3}" destId="{AF99BD0A-961F-4FA4-8DB5-C8E14357CE4A}" srcOrd="0" destOrd="0" presId="urn:microsoft.com/office/officeart/2005/8/layout/process1"/>
    <dgm:cxn modelId="{2FC41688-1523-49B7-B03A-A616F7CED6FD}" type="presOf" srcId="{27584AE6-C0E9-44B0-8D37-DF765934D0F3}" destId="{39F77B86-1856-4220-8CA3-866596F56FE2}" srcOrd="1" destOrd="0" presId="urn:microsoft.com/office/officeart/2005/8/layout/process1"/>
    <dgm:cxn modelId="{A139E6A9-D96F-4AA1-BFC5-538B8A82A85D}" type="presOf" srcId="{080AEF3C-1545-42A5-99E7-0ACF8484172C}" destId="{E8DFCEE2-E27D-4221-A2BD-FCB3395102A3}" srcOrd="0" destOrd="0" presId="urn:microsoft.com/office/officeart/2005/8/layout/process1"/>
    <dgm:cxn modelId="{2EBC4583-672B-4F6E-B950-303E3C7478B5}" type="presOf" srcId="{D4C74DE8-12C7-41F8-9D71-3443268FA694}" destId="{0A4AD5C3-16A3-4D8B-95C3-41EA4E459664}" srcOrd="0" destOrd="0" presId="urn:microsoft.com/office/officeart/2005/8/layout/process1"/>
    <dgm:cxn modelId="{D0684526-537D-4FA7-BF83-3761A29EA19D}" type="presOf" srcId="{6C80A114-5BB0-418D-A898-02F411C2C22F}" destId="{8DE2D0DA-2CBB-4E98-BE9B-C67555D60024}" srcOrd="0" destOrd="0" presId="urn:microsoft.com/office/officeart/2005/8/layout/process1"/>
    <dgm:cxn modelId="{CD9850AB-346F-4143-9602-4529DFBA39E1}" type="presOf" srcId="{9CB8247C-97A5-4B69-B312-3A458377F6B6}" destId="{D18DC2F4-B825-4280-A0A1-5ED9A82EEFCD}" srcOrd="0" destOrd="0" presId="urn:microsoft.com/office/officeart/2005/8/layout/process1"/>
    <dgm:cxn modelId="{54BD4616-F2A1-42DB-A183-86C334EEF024}" srcId="{D4C74DE8-12C7-41F8-9D71-3443268FA694}" destId="{080AEF3C-1545-42A5-99E7-0ACF8484172C}" srcOrd="1" destOrd="0" parTransId="{1EDAC2DA-C927-4260-8E7A-33387F27C605}" sibTransId="{27584AE6-C0E9-44B0-8D37-DF765934D0F3}"/>
    <dgm:cxn modelId="{16513F80-1693-4622-9BC3-AA4FC8F2C369}" type="presOf" srcId="{48714E6A-E851-4EB4-8854-9A5461A9D633}" destId="{2AD5DB63-E5E4-4F73-9E69-49DC9F36702E}" srcOrd="0" destOrd="0" presId="urn:microsoft.com/office/officeart/2005/8/layout/process1"/>
    <dgm:cxn modelId="{933745C9-A626-40A2-89E9-6464052AFEE7}" type="presOf" srcId="{48714E6A-E851-4EB4-8854-9A5461A9D633}" destId="{53D5BFFC-EEF7-4FC7-B8DB-7BD6AD0362BA}" srcOrd="1" destOrd="0" presId="urn:microsoft.com/office/officeart/2005/8/layout/process1"/>
    <dgm:cxn modelId="{14DE11DD-522F-4592-B63D-041ABC9D2D53}" srcId="{D4C74DE8-12C7-41F8-9D71-3443268FA694}" destId="{9CB8247C-97A5-4B69-B312-3A458377F6B6}" srcOrd="0" destOrd="0" parTransId="{7CE4F67E-0727-4E75-8876-23374E5237CB}" sibTransId="{48714E6A-E851-4EB4-8854-9A5461A9D633}"/>
    <dgm:cxn modelId="{2265843D-817C-4797-8CB3-1D954C488440}" srcId="{D4C74DE8-12C7-41F8-9D71-3443268FA694}" destId="{6C80A114-5BB0-418D-A898-02F411C2C22F}" srcOrd="2" destOrd="0" parTransId="{4C23B82D-0D5C-4F10-8327-2A1FF9BBA204}" sibTransId="{C38889B0-4508-4FD6-82A8-B128F362E405}"/>
    <dgm:cxn modelId="{915D01F8-F911-4E53-B80A-091181259121}" type="presParOf" srcId="{0A4AD5C3-16A3-4D8B-95C3-41EA4E459664}" destId="{D18DC2F4-B825-4280-A0A1-5ED9A82EEFCD}" srcOrd="0" destOrd="0" presId="urn:microsoft.com/office/officeart/2005/8/layout/process1"/>
    <dgm:cxn modelId="{F36E6F77-8363-4D6A-A66B-F2250100B368}" type="presParOf" srcId="{0A4AD5C3-16A3-4D8B-95C3-41EA4E459664}" destId="{2AD5DB63-E5E4-4F73-9E69-49DC9F36702E}" srcOrd="1" destOrd="0" presId="urn:microsoft.com/office/officeart/2005/8/layout/process1"/>
    <dgm:cxn modelId="{684DFB7D-1058-4DC4-A7B2-F09AB7110CFB}" type="presParOf" srcId="{2AD5DB63-E5E4-4F73-9E69-49DC9F36702E}" destId="{53D5BFFC-EEF7-4FC7-B8DB-7BD6AD0362BA}" srcOrd="0" destOrd="0" presId="urn:microsoft.com/office/officeart/2005/8/layout/process1"/>
    <dgm:cxn modelId="{5B56ABF6-330C-4137-842B-81E51D46F1EB}" type="presParOf" srcId="{0A4AD5C3-16A3-4D8B-95C3-41EA4E459664}" destId="{E8DFCEE2-E27D-4221-A2BD-FCB3395102A3}" srcOrd="2" destOrd="0" presId="urn:microsoft.com/office/officeart/2005/8/layout/process1"/>
    <dgm:cxn modelId="{E0568B1B-0F2C-4AAA-A890-3F1B468F3ABF}" type="presParOf" srcId="{0A4AD5C3-16A3-4D8B-95C3-41EA4E459664}" destId="{AF99BD0A-961F-4FA4-8DB5-C8E14357CE4A}" srcOrd="3" destOrd="0" presId="urn:microsoft.com/office/officeart/2005/8/layout/process1"/>
    <dgm:cxn modelId="{BDF54D4F-F87F-4158-A465-29D39E9F1A90}" type="presParOf" srcId="{AF99BD0A-961F-4FA4-8DB5-C8E14357CE4A}" destId="{39F77B86-1856-4220-8CA3-866596F56FE2}" srcOrd="0" destOrd="0" presId="urn:microsoft.com/office/officeart/2005/8/layout/process1"/>
    <dgm:cxn modelId="{668843D4-488F-4B6E-B59A-9D1700B84AF5}" type="presParOf" srcId="{0A4AD5C3-16A3-4D8B-95C3-41EA4E459664}" destId="{8DE2D0DA-2CBB-4E98-BE9B-C67555D60024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2099E9B-1E52-4C98-98BB-D8DDBFC2E3CC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2F4F0-FA57-4630-A170-F45E47111AE5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4F3B6F64-86D7-45DD-8222-9BC9181590DA}" type="parTrans" cxnId="{60037F3B-4C46-4B06-BDDC-A0F38897088E}">
      <dgm:prSet/>
      <dgm:spPr/>
      <dgm:t>
        <a:bodyPr/>
        <a:lstStyle/>
        <a:p>
          <a:endParaRPr lang="en-US"/>
        </a:p>
      </dgm:t>
    </dgm:pt>
    <dgm:pt modelId="{DACB33DA-D437-40FA-8F81-A6DC24446239}" type="sibTrans" cxnId="{60037F3B-4C46-4B06-BDDC-A0F38897088E}">
      <dgm:prSet/>
      <dgm:spPr/>
      <dgm:t>
        <a:bodyPr/>
        <a:lstStyle/>
        <a:p>
          <a:endParaRPr lang="en-US"/>
        </a:p>
      </dgm:t>
    </dgm:pt>
    <dgm:pt modelId="{C56C6945-EA24-4CD1-8F72-DAAF8A75ACAA}">
      <dgm:prSet phldrT="[Text]"/>
      <dgm:spPr/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C7F45AB2-E0F4-4580-B969-35CC39780352}" type="parTrans" cxnId="{EE63CED3-EA74-44C5-AC3F-8729839E3715}">
      <dgm:prSet/>
      <dgm:spPr/>
      <dgm:t>
        <a:bodyPr/>
        <a:lstStyle/>
        <a:p>
          <a:endParaRPr lang="en-US"/>
        </a:p>
      </dgm:t>
    </dgm:pt>
    <dgm:pt modelId="{BBA272A5-D96A-4F73-BE48-B7D0D1E8DD4F}" type="sibTrans" cxnId="{EE63CED3-EA74-44C5-AC3F-8729839E3715}">
      <dgm:prSet/>
      <dgm:spPr/>
      <dgm:t>
        <a:bodyPr/>
        <a:lstStyle/>
        <a:p>
          <a:endParaRPr lang="en-US"/>
        </a:p>
      </dgm:t>
    </dgm:pt>
    <dgm:pt modelId="{79343CCA-3B0C-44B8-A00B-EEACC0A0791B}">
      <dgm:prSet phldrT="[Text]"/>
      <dgm:spPr/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5EBE46C5-3707-46DA-8C9B-B3C7DE98E969}" type="parTrans" cxnId="{93CEBE4C-9819-47AE-AEBD-F00F9D8587C5}">
      <dgm:prSet/>
      <dgm:spPr/>
      <dgm:t>
        <a:bodyPr/>
        <a:lstStyle/>
        <a:p>
          <a:endParaRPr lang="en-US"/>
        </a:p>
      </dgm:t>
    </dgm:pt>
    <dgm:pt modelId="{54733E06-511B-4931-AF6A-4A152CEF426A}" type="sibTrans" cxnId="{93CEBE4C-9819-47AE-AEBD-F00F9D8587C5}">
      <dgm:prSet/>
      <dgm:spPr/>
      <dgm:t>
        <a:bodyPr/>
        <a:lstStyle/>
        <a:p>
          <a:endParaRPr lang="en-US"/>
        </a:p>
      </dgm:t>
    </dgm:pt>
    <dgm:pt modelId="{EB0C611B-39C7-4FE9-B3CC-29328D2AF277}">
      <dgm:prSet phldrT="[Text]"/>
      <dgm:spPr/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7C448212-F52A-45AA-BE67-C6C57C5369AC}" type="parTrans" cxnId="{90D0C109-8E67-434A-A2B6-3723EA50A1CC}">
      <dgm:prSet/>
      <dgm:spPr/>
      <dgm:t>
        <a:bodyPr/>
        <a:lstStyle/>
        <a:p>
          <a:endParaRPr lang="en-US"/>
        </a:p>
      </dgm:t>
    </dgm:pt>
    <dgm:pt modelId="{48DCC8A4-CB7C-4C62-9661-2872A3F37B47}" type="sibTrans" cxnId="{90D0C109-8E67-434A-A2B6-3723EA50A1CC}">
      <dgm:prSet/>
      <dgm:spPr/>
      <dgm:t>
        <a:bodyPr/>
        <a:lstStyle/>
        <a:p>
          <a:endParaRPr lang="en-US"/>
        </a:p>
      </dgm:t>
    </dgm:pt>
    <dgm:pt modelId="{7066790E-74B1-4B17-BE51-BFA909A84E04}">
      <dgm:prSet phldrT="[Text]"/>
      <dgm:spPr/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5BFF7F85-E387-43FA-83C8-186C725CC28D}" type="parTrans" cxnId="{5BBE4EFF-8DE2-410A-94CD-730C8ADA2387}">
      <dgm:prSet/>
      <dgm:spPr/>
      <dgm:t>
        <a:bodyPr/>
        <a:lstStyle/>
        <a:p>
          <a:endParaRPr lang="en-US"/>
        </a:p>
      </dgm:t>
    </dgm:pt>
    <dgm:pt modelId="{DBAA3649-6629-4780-BE93-3F2678E19DD2}" type="sibTrans" cxnId="{5BBE4EFF-8DE2-410A-94CD-730C8ADA2387}">
      <dgm:prSet/>
      <dgm:spPr/>
      <dgm:t>
        <a:bodyPr/>
        <a:lstStyle/>
        <a:p>
          <a:endParaRPr lang="en-US"/>
        </a:p>
      </dgm:t>
    </dgm:pt>
    <dgm:pt modelId="{74912DDC-3E70-4933-9934-9F8F98732229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4C939804-8E20-4B6E-BA28-97899AA790D3}" type="parTrans" cxnId="{6A94B023-840E-4E7A-8D63-79E67ED04D51}">
      <dgm:prSet/>
      <dgm:spPr/>
      <dgm:t>
        <a:bodyPr/>
        <a:lstStyle/>
        <a:p>
          <a:endParaRPr lang="en-US"/>
        </a:p>
      </dgm:t>
    </dgm:pt>
    <dgm:pt modelId="{DF8A2429-1B3A-44BF-8ED1-6D4A24FFC982}" type="sibTrans" cxnId="{6A94B023-840E-4E7A-8D63-79E67ED04D51}">
      <dgm:prSet/>
      <dgm:spPr/>
      <dgm:t>
        <a:bodyPr/>
        <a:lstStyle/>
        <a:p>
          <a:endParaRPr lang="en-US"/>
        </a:p>
      </dgm:t>
    </dgm:pt>
    <dgm:pt modelId="{186DC85C-9962-45A2-813F-D434CAFAF263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F569EDE3-70EA-4137-93A1-0B30535FEAA3}" type="parTrans" cxnId="{46A23D6F-B0EF-4DDF-B54F-89E8283EEA76}">
      <dgm:prSet/>
      <dgm:spPr/>
      <dgm:t>
        <a:bodyPr/>
        <a:lstStyle/>
        <a:p>
          <a:endParaRPr lang="en-US"/>
        </a:p>
      </dgm:t>
    </dgm:pt>
    <dgm:pt modelId="{9A706050-6B2F-4C69-8970-454E684B88B6}" type="sibTrans" cxnId="{46A23D6F-B0EF-4DDF-B54F-89E8283EEA76}">
      <dgm:prSet/>
      <dgm:spPr/>
      <dgm:t>
        <a:bodyPr/>
        <a:lstStyle/>
        <a:p>
          <a:endParaRPr lang="en-US"/>
        </a:p>
      </dgm:t>
    </dgm:pt>
    <dgm:pt modelId="{AEB0912E-57E7-42FA-97F9-72F074FB1189}">
      <dgm:prSet phldrT="[Text]"/>
      <dgm:spPr/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8609929E-7489-4409-9C4F-5A444057A802}" type="parTrans" cxnId="{2C52910E-C86A-4C15-BF44-0E056793AAFD}">
      <dgm:prSet/>
      <dgm:spPr/>
      <dgm:t>
        <a:bodyPr/>
        <a:lstStyle/>
        <a:p>
          <a:endParaRPr lang="en-US"/>
        </a:p>
      </dgm:t>
    </dgm:pt>
    <dgm:pt modelId="{BCDE2266-3B5E-45C8-9E7D-3C69BD2098DF}" type="sibTrans" cxnId="{2C52910E-C86A-4C15-BF44-0E056793AAFD}">
      <dgm:prSet/>
      <dgm:spPr/>
      <dgm:t>
        <a:bodyPr/>
        <a:lstStyle/>
        <a:p>
          <a:endParaRPr lang="en-US"/>
        </a:p>
      </dgm:t>
    </dgm:pt>
    <dgm:pt modelId="{DB5905AB-2183-41E2-A0D5-01064A9368F3}">
      <dgm:prSet phldrT="[Text]"/>
      <dgm:spPr/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770522C0-2A52-4DF7-90F1-C4F3EB7E3B21}" type="parTrans" cxnId="{CDB18395-27E2-408C-80B9-9DCA7D1F34DD}">
      <dgm:prSet/>
      <dgm:spPr/>
      <dgm:t>
        <a:bodyPr/>
        <a:lstStyle/>
        <a:p>
          <a:endParaRPr lang="en-US"/>
        </a:p>
      </dgm:t>
    </dgm:pt>
    <dgm:pt modelId="{0887B4A9-912E-4154-8E1E-2AB9B74308E9}" type="sibTrans" cxnId="{CDB18395-27E2-408C-80B9-9DCA7D1F34DD}">
      <dgm:prSet/>
      <dgm:spPr/>
      <dgm:t>
        <a:bodyPr/>
        <a:lstStyle/>
        <a:p>
          <a:endParaRPr lang="en-US"/>
        </a:p>
      </dgm:t>
    </dgm:pt>
    <dgm:pt modelId="{81A12C5D-7233-4662-9D34-73097E08723A}" type="pres">
      <dgm:prSet presAssocID="{E2099E9B-1E52-4C98-98BB-D8DDBFC2E3CC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84DF19FB-83D1-4297-B7E7-77083E480073}" type="pres">
      <dgm:prSet presAssocID="{1192F4F0-FA57-4630-A170-F45E47111AE5}" presName="compNode" presStyleCnt="0"/>
      <dgm:spPr/>
    </dgm:pt>
    <dgm:pt modelId="{6B0F0C82-9D76-4386-869D-959A4409867B}" type="pres">
      <dgm:prSet presAssocID="{1192F4F0-FA57-4630-A170-F45E47111AE5}" presName="dummyConnPt" presStyleCnt="0"/>
      <dgm:spPr/>
    </dgm:pt>
    <dgm:pt modelId="{4D7EA76F-C064-49EF-8AFC-3868360AEF07}" type="pres">
      <dgm:prSet presAssocID="{1192F4F0-FA57-4630-A170-F45E47111AE5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10AE8D-B624-4066-913D-82A0512003C4}" type="pres">
      <dgm:prSet presAssocID="{DACB33DA-D437-40FA-8F81-A6DC24446239}" presName="sibTrans" presStyleLbl="bgSibTrans2D1" presStyleIdx="0" presStyleCnt="8"/>
      <dgm:spPr/>
      <dgm:t>
        <a:bodyPr/>
        <a:lstStyle/>
        <a:p>
          <a:endParaRPr lang="en-US"/>
        </a:p>
      </dgm:t>
    </dgm:pt>
    <dgm:pt modelId="{9893B425-7AF2-44EA-83BB-9011327D6914}" type="pres">
      <dgm:prSet presAssocID="{C56C6945-EA24-4CD1-8F72-DAAF8A75ACAA}" presName="compNode" presStyleCnt="0"/>
      <dgm:spPr/>
    </dgm:pt>
    <dgm:pt modelId="{0ED3F607-915A-43D2-BDAF-D3329453ECEB}" type="pres">
      <dgm:prSet presAssocID="{C56C6945-EA24-4CD1-8F72-DAAF8A75ACAA}" presName="dummyConnPt" presStyleCnt="0"/>
      <dgm:spPr/>
    </dgm:pt>
    <dgm:pt modelId="{5762BA36-EFA9-4BDE-9928-25D18B8EC4E4}" type="pres">
      <dgm:prSet presAssocID="{C56C6945-EA24-4CD1-8F72-DAAF8A75ACA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F0D9CA-2937-4993-BB71-5020A492A06A}" type="pres">
      <dgm:prSet presAssocID="{BBA272A5-D96A-4F73-BE48-B7D0D1E8DD4F}" presName="sibTrans" presStyleLbl="bgSibTrans2D1" presStyleIdx="1" presStyleCnt="8"/>
      <dgm:spPr/>
      <dgm:t>
        <a:bodyPr/>
        <a:lstStyle/>
        <a:p>
          <a:endParaRPr lang="en-US"/>
        </a:p>
      </dgm:t>
    </dgm:pt>
    <dgm:pt modelId="{366B7D48-6607-464B-8EEF-C527ED82FE9F}" type="pres">
      <dgm:prSet presAssocID="{79343CCA-3B0C-44B8-A00B-EEACC0A0791B}" presName="compNode" presStyleCnt="0"/>
      <dgm:spPr/>
    </dgm:pt>
    <dgm:pt modelId="{970CEB34-F719-472B-B590-F19FBFAF5BEE}" type="pres">
      <dgm:prSet presAssocID="{79343CCA-3B0C-44B8-A00B-EEACC0A0791B}" presName="dummyConnPt" presStyleCnt="0"/>
      <dgm:spPr/>
    </dgm:pt>
    <dgm:pt modelId="{DFE929F3-F1EB-4E33-B6DC-D616C690BB18}" type="pres">
      <dgm:prSet presAssocID="{79343CCA-3B0C-44B8-A00B-EEACC0A0791B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E35F0C-4E28-456A-A879-9552EF557560}" type="pres">
      <dgm:prSet presAssocID="{54733E06-511B-4931-AF6A-4A152CEF426A}" presName="sibTrans" presStyleLbl="bgSibTrans2D1" presStyleIdx="2" presStyleCnt="8"/>
      <dgm:spPr/>
      <dgm:t>
        <a:bodyPr/>
        <a:lstStyle/>
        <a:p>
          <a:endParaRPr lang="en-US"/>
        </a:p>
      </dgm:t>
    </dgm:pt>
    <dgm:pt modelId="{B9D26EF1-B305-46E2-9F3C-F58C81868C34}" type="pres">
      <dgm:prSet presAssocID="{EB0C611B-39C7-4FE9-B3CC-29328D2AF277}" presName="compNode" presStyleCnt="0"/>
      <dgm:spPr/>
    </dgm:pt>
    <dgm:pt modelId="{5F3BBC51-583E-4024-B235-625C83901186}" type="pres">
      <dgm:prSet presAssocID="{EB0C611B-39C7-4FE9-B3CC-29328D2AF277}" presName="dummyConnPt" presStyleCnt="0"/>
      <dgm:spPr/>
    </dgm:pt>
    <dgm:pt modelId="{308492C1-4849-45F3-9E2F-9AD196C43577}" type="pres">
      <dgm:prSet presAssocID="{EB0C611B-39C7-4FE9-B3CC-29328D2AF277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43EFD1-D253-48D5-95D9-A694A849D7DB}" type="pres">
      <dgm:prSet presAssocID="{48DCC8A4-CB7C-4C62-9661-2872A3F37B47}" presName="sibTrans" presStyleLbl="bgSibTrans2D1" presStyleIdx="3" presStyleCnt="8"/>
      <dgm:spPr/>
      <dgm:t>
        <a:bodyPr/>
        <a:lstStyle/>
        <a:p>
          <a:endParaRPr lang="en-US"/>
        </a:p>
      </dgm:t>
    </dgm:pt>
    <dgm:pt modelId="{88412258-B6CC-4DC0-9A8C-930810D901C3}" type="pres">
      <dgm:prSet presAssocID="{7066790E-74B1-4B17-BE51-BFA909A84E04}" presName="compNode" presStyleCnt="0"/>
      <dgm:spPr/>
    </dgm:pt>
    <dgm:pt modelId="{475C730D-9249-4EEE-80E2-60E51527D340}" type="pres">
      <dgm:prSet presAssocID="{7066790E-74B1-4B17-BE51-BFA909A84E04}" presName="dummyConnPt" presStyleCnt="0"/>
      <dgm:spPr/>
    </dgm:pt>
    <dgm:pt modelId="{1ADF6FF1-015F-4E57-9A44-229AB15BB891}" type="pres">
      <dgm:prSet presAssocID="{7066790E-74B1-4B17-BE51-BFA909A84E04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1353A4-ED70-4ACD-A43B-15BE7DF74A15}" type="pres">
      <dgm:prSet presAssocID="{DBAA3649-6629-4780-BE93-3F2678E19DD2}" presName="sibTrans" presStyleLbl="bgSibTrans2D1" presStyleIdx="4" presStyleCnt="8"/>
      <dgm:spPr/>
      <dgm:t>
        <a:bodyPr/>
        <a:lstStyle/>
        <a:p>
          <a:endParaRPr lang="en-US"/>
        </a:p>
      </dgm:t>
    </dgm:pt>
    <dgm:pt modelId="{280B9175-CB74-4213-8E5A-896A777A98E8}" type="pres">
      <dgm:prSet presAssocID="{74912DDC-3E70-4933-9934-9F8F98732229}" presName="compNode" presStyleCnt="0"/>
      <dgm:spPr/>
    </dgm:pt>
    <dgm:pt modelId="{26F1345C-9ED7-41DF-9D20-487432D40662}" type="pres">
      <dgm:prSet presAssocID="{74912DDC-3E70-4933-9934-9F8F98732229}" presName="dummyConnPt" presStyleCnt="0"/>
      <dgm:spPr/>
    </dgm:pt>
    <dgm:pt modelId="{1AB70730-DE4F-45BF-AC19-3E8ACDC3FCF7}" type="pres">
      <dgm:prSet presAssocID="{74912DDC-3E70-4933-9934-9F8F98732229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39C1DA-0423-4F1A-B878-74279D89C51A}" type="pres">
      <dgm:prSet presAssocID="{DF8A2429-1B3A-44BF-8ED1-6D4A24FFC982}" presName="sibTrans" presStyleLbl="bgSibTrans2D1" presStyleIdx="5" presStyleCnt="8"/>
      <dgm:spPr/>
      <dgm:t>
        <a:bodyPr/>
        <a:lstStyle/>
        <a:p>
          <a:endParaRPr lang="en-US"/>
        </a:p>
      </dgm:t>
    </dgm:pt>
    <dgm:pt modelId="{54000CC0-48B7-46AA-920D-D19E4E40E878}" type="pres">
      <dgm:prSet presAssocID="{186DC85C-9962-45A2-813F-D434CAFAF263}" presName="compNode" presStyleCnt="0"/>
      <dgm:spPr/>
    </dgm:pt>
    <dgm:pt modelId="{4DFE7203-6C1C-4FCF-9BA8-7E457641868C}" type="pres">
      <dgm:prSet presAssocID="{186DC85C-9962-45A2-813F-D434CAFAF263}" presName="dummyConnPt" presStyleCnt="0"/>
      <dgm:spPr/>
    </dgm:pt>
    <dgm:pt modelId="{2F16D533-F0F7-4D6C-A8F6-6B7A08066E20}" type="pres">
      <dgm:prSet presAssocID="{186DC85C-9962-45A2-813F-D434CAFAF263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F1686F-0707-456D-9F7D-F7239970FA29}" type="pres">
      <dgm:prSet presAssocID="{9A706050-6B2F-4C69-8970-454E684B88B6}" presName="sibTrans" presStyleLbl="bgSibTrans2D1" presStyleIdx="6" presStyleCnt="8"/>
      <dgm:spPr/>
      <dgm:t>
        <a:bodyPr/>
        <a:lstStyle/>
        <a:p>
          <a:endParaRPr lang="en-US"/>
        </a:p>
      </dgm:t>
    </dgm:pt>
    <dgm:pt modelId="{56BB8644-71E1-4329-A32C-0D4E9C72ED7D}" type="pres">
      <dgm:prSet presAssocID="{AEB0912E-57E7-42FA-97F9-72F074FB1189}" presName="compNode" presStyleCnt="0"/>
      <dgm:spPr/>
    </dgm:pt>
    <dgm:pt modelId="{34291B4D-8C18-48AA-835E-D2AE56EFA013}" type="pres">
      <dgm:prSet presAssocID="{AEB0912E-57E7-42FA-97F9-72F074FB1189}" presName="dummyConnPt" presStyleCnt="0"/>
      <dgm:spPr/>
    </dgm:pt>
    <dgm:pt modelId="{8007E9BB-788C-44B4-B2D9-149C2CE7002B}" type="pres">
      <dgm:prSet presAssocID="{AEB0912E-57E7-42FA-97F9-72F074FB1189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0366A-F553-4618-9355-E0DA9DF954A2}" type="pres">
      <dgm:prSet presAssocID="{BCDE2266-3B5E-45C8-9E7D-3C69BD2098DF}" presName="sibTrans" presStyleLbl="bgSibTrans2D1" presStyleIdx="7" presStyleCnt="8"/>
      <dgm:spPr/>
      <dgm:t>
        <a:bodyPr/>
        <a:lstStyle/>
        <a:p>
          <a:endParaRPr lang="en-US"/>
        </a:p>
      </dgm:t>
    </dgm:pt>
    <dgm:pt modelId="{E520604D-F27F-4F77-9FA0-17BF9C3E635F}" type="pres">
      <dgm:prSet presAssocID="{DB5905AB-2183-41E2-A0D5-01064A9368F3}" presName="compNode" presStyleCnt="0"/>
      <dgm:spPr/>
    </dgm:pt>
    <dgm:pt modelId="{EBDDAF38-69BE-4459-86A1-E8F9E2E2ECA9}" type="pres">
      <dgm:prSet presAssocID="{DB5905AB-2183-41E2-A0D5-01064A9368F3}" presName="dummyConnPt" presStyleCnt="0"/>
      <dgm:spPr/>
    </dgm:pt>
    <dgm:pt modelId="{CBB78A34-261D-4A3F-B529-F72E5BF01D05}" type="pres">
      <dgm:prSet presAssocID="{DB5905AB-2183-41E2-A0D5-01064A9368F3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717366A-128F-49E7-9E19-D2B65B0B32FB}" type="presOf" srcId="{EB0C611B-39C7-4FE9-B3CC-29328D2AF277}" destId="{308492C1-4849-45F3-9E2F-9AD196C43577}" srcOrd="0" destOrd="0" presId="urn:microsoft.com/office/officeart/2005/8/layout/bProcess4"/>
    <dgm:cxn modelId="{98D5435E-759C-4B11-99D8-C408AF5E33E1}" type="presOf" srcId="{186DC85C-9962-45A2-813F-D434CAFAF263}" destId="{2F16D533-F0F7-4D6C-A8F6-6B7A08066E20}" srcOrd="0" destOrd="0" presId="urn:microsoft.com/office/officeart/2005/8/layout/bProcess4"/>
    <dgm:cxn modelId="{922D319F-8EEB-49B3-8882-A2B2633258F5}" type="presOf" srcId="{48DCC8A4-CB7C-4C62-9661-2872A3F37B47}" destId="{2943EFD1-D253-48D5-95D9-A694A849D7DB}" srcOrd="0" destOrd="0" presId="urn:microsoft.com/office/officeart/2005/8/layout/bProcess4"/>
    <dgm:cxn modelId="{7DF05754-5E2E-4345-9AB9-D7111E55E6B6}" type="presOf" srcId="{DB5905AB-2183-41E2-A0D5-01064A9368F3}" destId="{CBB78A34-261D-4A3F-B529-F72E5BF01D05}" srcOrd="0" destOrd="0" presId="urn:microsoft.com/office/officeart/2005/8/layout/bProcess4"/>
    <dgm:cxn modelId="{3E59064E-5773-4F16-8AA0-A5D7DCFB9CA5}" type="presOf" srcId="{DBAA3649-6629-4780-BE93-3F2678E19DD2}" destId="{151353A4-ED70-4ACD-A43B-15BE7DF74A15}" srcOrd="0" destOrd="0" presId="urn:microsoft.com/office/officeart/2005/8/layout/bProcess4"/>
    <dgm:cxn modelId="{BE2AA676-9D92-4669-9DF4-521B8FBBFB16}" type="presOf" srcId="{E2099E9B-1E52-4C98-98BB-D8DDBFC2E3CC}" destId="{81A12C5D-7233-4662-9D34-73097E08723A}" srcOrd="0" destOrd="0" presId="urn:microsoft.com/office/officeart/2005/8/layout/bProcess4"/>
    <dgm:cxn modelId="{5BBE4EFF-8DE2-410A-94CD-730C8ADA2387}" srcId="{E2099E9B-1E52-4C98-98BB-D8DDBFC2E3CC}" destId="{7066790E-74B1-4B17-BE51-BFA909A84E04}" srcOrd="4" destOrd="0" parTransId="{5BFF7F85-E387-43FA-83C8-186C725CC28D}" sibTransId="{DBAA3649-6629-4780-BE93-3F2678E19DD2}"/>
    <dgm:cxn modelId="{18510B25-198D-44E5-A5EF-B3110C8CFC0B}" type="presOf" srcId="{DACB33DA-D437-40FA-8F81-A6DC24446239}" destId="{C910AE8D-B624-4066-913D-82A0512003C4}" srcOrd="0" destOrd="0" presId="urn:microsoft.com/office/officeart/2005/8/layout/bProcess4"/>
    <dgm:cxn modelId="{00123FED-B25F-415F-A9FF-1F4A0D60E12E}" type="presOf" srcId="{9A706050-6B2F-4C69-8970-454E684B88B6}" destId="{A8F1686F-0707-456D-9F7D-F7239970FA29}" srcOrd="0" destOrd="0" presId="urn:microsoft.com/office/officeart/2005/8/layout/bProcess4"/>
    <dgm:cxn modelId="{60037F3B-4C46-4B06-BDDC-A0F38897088E}" srcId="{E2099E9B-1E52-4C98-98BB-D8DDBFC2E3CC}" destId="{1192F4F0-FA57-4630-A170-F45E47111AE5}" srcOrd="0" destOrd="0" parTransId="{4F3B6F64-86D7-45DD-8222-9BC9181590DA}" sibTransId="{DACB33DA-D437-40FA-8F81-A6DC24446239}"/>
    <dgm:cxn modelId="{43782B68-8AB7-477C-8565-28DB966AE0EF}" type="presOf" srcId="{74912DDC-3E70-4933-9934-9F8F98732229}" destId="{1AB70730-DE4F-45BF-AC19-3E8ACDC3FCF7}" srcOrd="0" destOrd="0" presId="urn:microsoft.com/office/officeart/2005/8/layout/bProcess4"/>
    <dgm:cxn modelId="{EE63CED3-EA74-44C5-AC3F-8729839E3715}" srcId="{E2099E9B-1E52-4C98-98BB-D8DDBFC2E3CC}" destId="{C56C6945-EA24-4CD1-8F72-DAAF8A75ACAA}" srcOrd="1" destOrd="0" parTransId="{C7F45AB2-E0F4-4580-B969-35CC39780352}" sibTransId="{BBA272A5-D96A-4F73-BE48-B7D0D1E8DD4F}"/>
    <dgm:cxn modelId="{136F2B95-620E-4E16-8AE0-2FC06CA99A1C}" type="presOf" srcId="{BBA272A5-D96A-4F73-BE48-B7D0D1E8DD4F}" destId="{DEF0D9CA-2937-4993-BB71-5020A492A06A}" srcOrd="0" destOrd="0" presId="urn:microsoft.com/office/officeart/2005/8/layout/bProcess4"/>
    <dgm:cxn modelId="{CDB18395-27E2-408C-80B9-9DCA7D1F34DD}" srcId="{E2099E9B-1E52-4C98-98BB-D8DDBFC2E3CC}" destId="{DB5905AB-2183-41E2-A0D5-01064A9368F3}" srcOrd="8" destOrd="0" parTransId="{770522C0-2A52-4DF7-90F1-C4F3EB7E3B21}" sibTransId="{0887B4A9-912E-4154-8E1E-2AB9B74308E9}"/>
    <dgm:cxn modelId="{2C52910E-C86A-4C15-BF44-0E056793AAFD}" srcId="{E2099E9B-1E52-4C98-98BB-D8DDBFC2E3CC}" destId="{AEB0912E-57E7-42FA-97F9-72F074FB1189}" srcOrd="7" destOrd="0" parTransId="{8609929E-7489-4409-9C4F-5A444057A802}" sibTransId="{BCDE2266-3B5E-45C8-9E7D-3C69BD2098DF}"/>
    <dgm:cxn modelId="{FD07A18B-E241-4AAD-B3EC-1603C72D5B9E}" type="presOf" srcId="{DF8A2429-1B3A-44BF-8ED1-6D4A24FFC982}" destId="{7D39C1DA-0423-4F1A-B878-74279D89C51A}" srcOrd="0" destOrd="0" presId="urn:microsoft.com/office/officeart/2005/8/layout/bProcess4"/>
    <dgm:cxn modelId="{90D0C109-8E67-434A-A2B6-3723EA50A1CC}" srcId="{E2099E9B-1E52-4C98-98BB-D8DDBFC2E3CC}" destId="{EB0C611B-39C7-4FE9-B3CC-29328D2AF277}" srcOrd="3" destOrd="0" parTransId="{7C448212-F52A-45AA-BE67-C6C57C5369AC}" sibTransId="{48DCC8A4-CB7C-4C62-9661-2872A3F37B47}"/>
    <dgm:cxn modelId="{46A23D6F-B0EF-4DDF-B54F-89E8283EEA76}" srcId="{E2099E9B-1E52-4C98-98BB-D8DDBFC2E3CC}" destId="{186DC85C-9962-45A2-813F-D434CAFAF263}" srcOrd="6" destOrd="0" parTransId="{F569EDE3-70EA-4137-93A1-0B30535FEAA3}" sibTransId="{9A706050-6B2F-4C69-8970-454E684B88B6}"/>
    <dgm:cxn modelId="{CAEB27D4-5D0F-40CA-97D0-436C7937432D}" type="presOf" srcId="{7066790E-74B1-4B17-BE51-BFA909A84E04}" destId="{1ADF6FF1-015F-4E57-9A44-229AB15BB891}" srcOrd="0" destOrd="0" presId="urn:microsoft.com/office/officeart/2005/8/layout/bProcess4"/>
    <dgm:cxn modelId="{71654C92-D6AC-4503-B576-8F3A304041D9}" type="presOf" srcId="{C56C6945-EA24-4CD1-8F72-DAAF8A75ACAA}" destId="{5762BA36-EFA9-4BDE-9928-25D18B8EC4E4}" srcOrd="0" destOrd="0" presId="urn:microsoft.com/office/officeart/2005/8/layout/bProcess4"/>
    <dgm:cxn modelId="{B0D8BBBA-544F-4887-B84B-DE5A3EC0E1C6}" type="presOf" srcId="{54733E06-511B-4931-AF6A-4A152CEF426A}" destId="{ABE35F0C-4E28-456A-A879-9552EF557560}" srcOrd="0" destOrd="0" presId="urn:microsoft.com/office/officeart/2005/8/layout/bProcess4"/>
    <dgm:cxn modelId="{430D95A9-CC63-42EF-ACEF-3471DEB35138}" type="presOf" srcId="{79343CCA-3B0C-44B8-A00B-EEACC0A0791B}" destId="{DFE929F3-F1EB-4E33-B6DC-D616C690BB18}" srcOrd="0" destOrd="0" presId="urn:microsoft.com/office/officeart/2005/8/layout/bProcess4"/>
    <dgm:cxn modelId="{62A00FD5-F59B-44D2-B655-9556A662E06B}" type="presOf" srcId="{AEB0912E-57E7-42FA-97F9-72F074FB1189}" destId="{8007E9BB-788C-44B4-B2D9-149C2CE7002B}" srcOrd="0" destOrd="0" presId="urn:microsoft.com/office/officeart/2005/8/layout/bProcess4"/>
    <dgm:cxn modelId="{6A94B023-840E-4E7A-8D63-79E67ED04D51}" srcId="{E2099E9B-1E52-4C98-98BB-D8DDBFC2E3CC}" destId="{74912DDC-3E70-4933-9934-9F8F98732229}" srcOrd="5" destOrd="0" parTransId="{4C939804-8E20-4B6E-BA28-97899AA790D3}" sibTransId="{DF8A2429-1B3A-44BF-8ED1-6D4A24FFC982}"/>
    <dgm:cxn modelId="{93CEBE4C-9819-47AE-AEBD-F00F9D8587C5}" srcId="{E2099E9B-1E52-4C98-98BB-D8DDBFC2E3CC}" destId="{79343CCA-3B0C-44B8-A00B-EEACC0A0791B}" srcOrd="2" destOrd="0" parTransId="{5EBE46C5-3707-46DA-8C9B-B3C7DE98E969}" sibTransId="{54733E06-511B-4931-AF6A-4A152CEF426A}"/>
    <dgm:cxn modelId="{C91B2F98-0B9A-4ADE-BE8F-0C77190E5A13}" type="presOf" srcId="{BCDE2266-3B5E-45C8-9E7D-3C69BD2098DF}" destId="{5D90366A-F553-4618-9355-E0DA9DF954A2}" srcOrd="0" destOrd="0" presId="urn:microsoft.com/office/officeart/2005/8/layout/bProcess4"/>
    <dgm:cxn modelId="{9E926D79-0BA5-4948-BE24-8113FBDF8B58}" type="presOf" srcId="{1192F4F0-FA57-4630-A170-F45E47111AE5}" destId="{4D7EA76F-C064-49EF-8AFC-3868360AEF07}" srcOrd="0" destOrd="0" presId="urn:microsoft.com/office/officeart/2005/8/layout/bProcess4"/>
    <dgm:cxn modelId="{49B7AB19-8D08-4D39-B7B4-B29AB820711D}" type="presParOf" srcId="{81A12C5D-7233-4662-9D34-73097E08723A}" destId="{84DF19FB-83D1-4297-B7E7-77083E480073}" srcOrd="0" destOrd="0" presId="urn:microsoft.com/office/officeart/2005/8/layout/bProcess4"/>
    <dgm:cxn modelId="{AC7027C6-47F2-404A-8AC4-D3EB79341EC7}" type="presParOf" srcId="{84DF19FB-83D1-4297-B7E7-77083E480073}" destId="{6B0F0C82-9D76-4386-869D-959A4409867B}" srcOrd="0" destOrd="0" presId="urn:microsoft.com/office/officeart/2005/8/layout/bProcess4"/>
    <dgm:cxn modelId="{63F59ADF-A40F-4AC9-AA97-1C6A0942FD5B}" type="presParOf" srcId="{84DF19FB-83D1-4297-B7E7-77083E480073}" destId="{4D7EA76F-C064-49EF-8AFC-3868360AEF07}" srcOrd="1" destOrd="0" presId="urn:microsoft.com/office/officeart/2005/8/layout/bProcess4"/>
    <dgm:cxn modelId="{304EBE88-54D9-48B7-81C9-F2881F724BC5}" type="presParOf" srcId="{81A12C5D-7233-4662-9D34-73097E08723A}" destId="{C910AE8D-B624-4066-913D-82A0512003C4}" srcOrd="1" destOrd="0" presId="urn:microsoft.com/office/officeart/2005/8/layout/bProcess4"/>
    <dgm:cxn modelId="{71FED746-6031-4472-AA5D-14A60EFA27F6}" type="presParOf" srcId="{81A12C5D-7233-4662-9D34-73097E08723A}" destId="{9893B425-7AF2-44EA-83BB-9011327D6914}" srcOrd="2" destOrd="0" presId="urn:microsoft.com/office/officeart/2005/8/layout/bProcess4"/>
    <dgm:cxn modelId="{2D4020E1-7507-4979-88B4-B4C6010CA848}" type="presParOf" srcId="{9893B425-7AF2-44EA-83BB-9011327D6914}" destId="{0ED3F607-915A-43D2-BDAF-D3329453ECEB}" srcOrd="0" destOrd="0" presId="urn:microsoft.com/office/officeart/2005/8/layout/bProcess4"/>
    <dgm:cxn modelId="{F815C05C-9924-4179-BBA1-D33AB37F1E32}" type="presParOf" srcId="{9893B425-7AF2-44EA-83BB-9011327D6914}" destId="{5762BA36-EFA9-4BDE-9928-25D18B8EC4E4}" srcOrd="1" destOrd="0" presId="urn:microsoft.com/office/officeart/2005/8/layout/bProcess4"/>
    <dgm:cxn modelId="{CA01286E-7D8C-41D6-A3C5-72D4D9EDD94B}" type="presParOf" srcId="{81A12C5D-7233-4662-9D34-73097E08723A}" destId="{DEF0D9CA-2937-4993-BB71-5020A492A06A}" srcOrd="3" destOrd="0" presId="urn:microsoft.com/office/officeart/2005/8/layout/bProcess4"/>
    <dgm:cxn modelId="{0F894B32-4A6D-4B70-A115-E1BB4022BF94}" type="presParOf" srcId="{81A12C5D-7233-4662-9D34-73097E08723A}" destId="{366B7D48-6607-464B-8EEF-C527ED82FE9F}" srcOrd="4" destOrd="0" presId="urn:microsoft.com/office/officeart/2005/8/layout/bProcess4"/>
    <dgm:cxn modelId="{B8CD4B50-9E3F-47F7-935A-A8AFB03AEE60}" type="presParOf" srcId="{366B7D48-6607-464B-8EEF-C527ED82FE9F}" destId="{970CEB34-F719-472B-B590-F19FBFAF5BEE}" srcOrd="0" destOrd="0" presId="urn:microsoft.com/office/officeart/2005/8/layout/bProcess4"/>
    <dgm:cxn modelId="{B5C37889-A4D3-4426-A084-15FADFBAD590}" type="presParOf" srcId="{366B7D48-6607-464B-8EEF-C527ED82FE9F}" destId="{DFE929F3-F1EB-4E33-B6DC-D616C690BB18}" srcOrd="1" destOrd="0" presId="urn:microsoft.com/office/officeart/2005/8/layout/bProcess4"/>
    <dgm:cxn modelId="{206FA524-06E5-428E-BFF4-DF5ED434FE51}" type="presParOf" srcId="{81A12C5D-7233-4662-9D34-73097E08723A}" destId="{ABE35F0C-4E28-456A-A879-9552EF557560}" srcOrd="5" destOrd="0" presId="urn:microsoft.com/office/officeart/2005/8/layout/bProcess4"/>
    <dgm:cxn modelId="{9E60268F-7DFF-4295-9700-4277CE3C2826}" type="presParOf" srcId="{81A12C5D-7233-4662-9D34-73097E08723A}" destId="{B9D26EF1-B305-46E2-9F3C-F58C81868C34}" srcOrd="6" destOrd="0" presId="urn:microsoft.com/office/officeart/2005/8/layout/bProcess4"/>
    <dgm:cxn modelId="{CB0A0AE5-684B-4649-9117-CFEC243217EB}" type="presParOf" srcId="{B9D26EF1-B305-46E2-9F3C-F58C81868C34}" destId="{5F3BBC51-583E-4024-B235-625C83901186}" srcOrd="0" destOrd="0" presId="urn:microsoft.com/office/officeart/2005/8/layout/bProcess4"/>
    <dgm:cxn modelId="{82546AFF-D55F-4E07-8BBF-1EC03E0DEF9F}" type="presParOf" srcId="{B9D26EF1-B305-46E2-9F3C-F58C81868C34}" destId="{308492C1-4849-45F3-9E2F-9AD196C43577}" srcOrd="1" destOrd="0" presId="urn:microsoft.com/office/officeart/2005/8/layout/bProcess4"/>
    <dgm:cxn modelId="{6BCBCD66-14BA-4F4A-BB51-D8A4675DA3C4}" type="presParOf" srcId="{81A12C5D-7233-4662-9D34-73097E08723A}" destId="{2943EFD1-D253-48D5-95D9-A694A849D7DB}" srcOrd="7" destOrd="0" presId="urn:microsoft.com/office/officeart/2005/8/layout/bProcess4"/>
    <dgm:cxn modelId="{81FB2D09-DFD3-458F-B559-6BA468C4A95F}" type="presParOf" srcId="{81A12C5D-7233-4662-9D34-73097E08723A}" destId="{88412258-B6CC-4DC0-9A8C-930810D901C3}" srcOrd="8" destOrd="0" presId="urn:microsoft.com/office/officeart/2005/8/layout/bProcess4"/>
    <dgm:cxn modelId="{F9F41F6B-1589-4EED-8EB2-8266B997F441}" type="presParOf" srcId="{88412258-B6CC-4DC0-9A8C-930810D901C3}" destId="{475C730D-9249-4EEE-80E2-60E51527D340}" srcOrd="0" destOrd="0" presId="urn:microsoft.com/office/officeart/2005/8/layout/bProcess4"/>
    <dgm:cxn modelId="{4C0C4A33-0B95-454C-A8FA-0B820FB64211}" type="presParOf" srcId="{88412258-B6CC-4DC0-9A8C-930810D901C3}" destId="{1ADF6FF1-015F-4E57-9A44-229AB15BB891}" srcOrd="1" destOrd="0" presId="urn:microsoft.com/office/officeart/2005/8/layout/bProcess4"/>
    <dgm:cxn modelId="{19DC1652-9599-4773-9A71-E2D09B83FDAF}" type="presParOf" srcId="{81A12C5D-7233-4662-9D34-73097E08723A}" destId="{151353A4-ED70-4ACD-A43B-15BE7DF74A15}" srcOrd="9" destOrd="0" presId="urn:microsoft.com/office/officeart/2005/8/layout/bProcess4"/>
    <dgm:cxn modelId="{29AA3252-FBE4-4A16-8976-3646B48F067A}" type="presParOf" srcId="{81A12C5D-7233-4662-9D34-73097E08723A}" destId="{280B9175-CB74-4213-8E5A-896A777A98E8}" srcOrd="10" destOrd="0" presId="urn:microsoft.com/office/officeart/2005/8/layout/bProcess4"/>
    <dgm:cxn modelId="{C3732A20-7729-49FB-801D-E917263CD670}" type="presParOf" srcId="{280B9175-CB74-4213-8E5A-896A777A98E8}" destId="{26F1345C-9ED7-41DF-9D20-487432D40662}" srcOrd="0" destOrd="0" presId="urn:microsoft.com/office/officeart/2005/8/layout/bProcess4"/>
    <dgm:cxn modelId="{CC7326EE-8A28-45A1-9BDB-2D8B447CD9A2}" type="presParOf" srcId="{280B9175-CB74-4213-8E5A-896A777A98E8}" destId="{1AB70730-DE4F-45BF-AC19-3E8ACDC3FCF7}" srcOrd="1" destOrd="0" presId="urn:microsoft.com/office/officeart/2005/8/layout/bProcess4"/>
    <dgm:cxn modelId="{12B4860C-4089-4209-A141-69A58B018F97}" type="presParOf" srcId="{81A12C5D-7233-4662-9D34-73097E08723A}" destId="{7D39C1DA-0423-4F1A-B878-74279D89C51A}" srcOrd="11" destOrd="0" presId="urn:microsoft.com/office/officeart/2005/8/layout/bProcess4"/>
    <dgm:cxn modelId="{1177B87E-E1B1-4273-A64F-AE00AC6A3A00}" type="presParOf" srcId="{81A12C5D-7233-4662-9D34-73097E08723A}" destId="{54000CC0-48B7-46AA-920D-D19E4E40E878}" srcOrd="12" destOrd="0" presId="urn:microsoft.com/office/officeart/2005/8/layout/bProcess4"/>
    <dgm:cxn modelId="{C0D47934-9B8E-4E3F-BC4D-E26119086347}" type="presParOf" srcId="{54000CC0-48B7-46AA-920D-D19E4E40E878}" destId="{4DFE7203-6C1C-4FCF-9BA8-7E457641868C}" srcOrd="0" destOrd="0" presId="urn:microsoft.com/office/officeart/2005/8/layout/bProcess4"/>
    <dgm:cxn modelId="{30331157-C95B-4B75-B216-E9460C6F453C}" type="presParOf" srcId="{54000CC0-48B7-46AA-920D-D19E4E40E878}" destId="{2F16D533-F0F7-4D6C-A8F6-6B7A08066E20}" srcOrd="1" destOrd="0" presId="urn:microsoft.com/office/officeart/2005/8/layout/bProcess4"/>
    <dgm:cxn modelId="{A88D43D0-DCEA-4B06-859F-50C3BF209D6D}" type="presParOf" srcId="{81A12C5D-7233-4662-9D34-73097E08723A}" destId="{A8F1686F-0707-456D-9F7D-F7239970FA29}" srcOrd="13" destOrd="0" presId="urn:microsoft.com/office/officeart/2005/8/layout/bProcess4"/>
    <dgm:cxn modelId="{3B19E8CB-7AD8-495C-97B3-C8BDA172CA2D}" type="presParOf" srcId="{81A12C5D-7233-4662-9D34-73097E08723A}" destId="{56BB8644-71E1-4329-A32C-0D4E9C72ED7D}" srcOrd="14" destOrd="0" presId="urn:microsoft.com/office/officeart/2005/8/layout/bProcess4"/>
    <dgm:cxn modelId="{6700D2E1-2292-4BAD-8D6A-7E6DF40B9941}" type="presParOf" srcId="{56BB8644-71E1-4329-A32C-0D4E9C72ED7D}" destId="{34291B4D-8C18-48AA-835E-D2AE56EFA013}" srcOrd="0" destOrd="0" presId="urn:microsoft.com/office/officeart/2005/8/layout/bProcess4"/>
    <dgm:cxn modelId="{6B85210F-242B-4D53-A5C5-9AB313C7F78E}" type="presParOf" srcId="{56BB8644-71E1-4329-A32C-0D4E9C72ED7D}" destId="{8007E9BB-788C-44B4-B2D9-149C2CE7002B}" srcOrd="1" destOrd="0" presId="urn:microsoft.com/office/officeart/2005/8/layout/bProcess4"/>
    <dgm:cxn modelId="{41CB07AE-0525-4EC4-BAE0-47087FA252D6}" type="presParOf" srcId="{81A12C5D-7233-4662-9D34-73097E08723A}" destId="{5D90366A-F553-4618-9355-E0DA9DF954A2}" srcOrd="15" destOrd="0" presId="urn:microsoft.com/office/officeart/2005/8/layout/bProcess4"/>
    <dgm:cxn modelId="{9B117780-5EC6-4DDE-A671-6EFABA3740A0}" type="presParOf" srcId="{81A12C5D-7233-4662-9D34-73097E08723A}" destId="{E520604D-F27F-4F77-9FA0-17BF9C3E635F}" srcOrd="16" destOrd="0" presId="urn:microsoft.com/office/officeart/2005/8/layout/bProcess4"/>
    <dgm:cxn modelId="{AFC8B211-F6CE-43BD-80D0-B1E150316E94}" type="presParOf" srcId="{E520604D-F27F-4F77-9FA0-17BF9C3E635F}" destId="{EBDDAF38-69BE-4459-86A1-E8F9E2E2ECA9}" srcOrd="0" destOrd="0" presId="urn:microsoft.com/office/officeart/2005/8/layout/bProcess4"/>
    <dgm:cxn modelId="{965AA2E0-6C50-48B3-B57D-AFC9E572D484}" type="presParOf" srcId="{E520604D-F27F-4F77-9FA0-17BF9C3E635F}" destId="{CBB78A34-261D-4A3F-B529-F72E5BF01D05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2099E9B-1E52-4C98-98BB-D8DDBFC2E3CC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2F4F0-FA57-4630-A170-F45E47111AE5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4F3B6F64-86D7-45DD-8222-9BC9181590DA}" type="parTrans" cxnId="{60037F3B-4C46-4B06-BDDC-A0F38897088E}">
      <dgm:prSet/>
      <dgm:spPr/>
      <dgm:t>
        <a:bodyPr/>
        <a:lstStyle/>
        <a:p>
          <a:endParaRPr lang="en-US"/>
        </a:p>
      </dgm:t>
    </dgm:pt>
    <dgm:pt modelId="{DACB33DA-D437-40FA-8F81-A6DC24446239}" type="sibTrans" cxnId="{60037F3B-4C46-4B06-BDDC-A0F38897088E}">
      <dgm:prSet/>
      <dgm:spPr/>
      <dgm:t>
        <a:bodyPr/>
        <a:lstStyle/>
        <a:p>
          <a:endParaRPr lang="en-US"/>
        </a:p>
      </dgm:t>
    </dgm:pt>
    <dgm:pt modelId="{C56C6945-EA24-4CD1-8F72-DAAF8A75ACAA}">
      <dgm:prSet phldrT="[Text]"/>
      <dgm:spPr>
        <a:solidFill>
          <a:srgbClr val="FFC000"/>
        </a:solidFill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Sub-system</a:t>
          </a:r>
          <a:endParaRPr lang="en-US" dirty="0">
            <a:solidFill>
              <a:schemeClr val="tx1"/>
            </a:solidFill>
          </a:endParaRPr>
        </a:p>
      </dgm:t>
    </dgm:pt>
    <dgm:pt modelId="{C7F45AB2-E0F4-4580-B969-35CC39780352}" type="parTrans" cxnId="{EE63CED3-EA74-44C5-AC3F-8729839E3715}">
      <dgm:prSet/>
      <dgm:spPr/>
      <dgm:t>
        <a:bodyPr/>
        <a:lstStyle/>
        <a:p>
          <a:endParaRPr lang="en-US"/>
        </a:p>
      </dgm:t>
    </dgm:pt>
    <dgm:pt modelId="{BBA272A5-D96A-4F73-BE48-B7D0D1E8DD4F}" type="sibTrans" cxnId="{EE63CED3-EA74-44C5-AC3F-8729839E3715}">
      <dgm:prSet/>
      <dgm:spPr/>
      <dgm:t>
        <a:bodyPr/>
        <a:lstStyle/>
        <a:p>
          <a:endParaRPr lang="en-US"/>
        </a:p>
      </dgm:t>
    </dgm:pt>
    <dgm:pt modelId="{79343CCA-3B0C-44B8-A00B-EEACC0A0791B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5EBE46C5-3707-46DA-8C9B-B3C7DE98E969}" type="parTrans" cxnId="{93CEBE4C-9819-47AE-AEBD-F00F9D8587C5}">
      <dgm:prSet/>
      <dgm:spPr/>
      <dgm:t>
        <a:bodyPr/>
        <a:lstStyle/>
        <a:p>
          <a:endParaRPr lang="en-US"/>
        </a:p>
      </dgm:t>
    </dgm:pt>
    <dgm:pt modelId="{54733E06-511B-4931-AF6A-4A152CEF426A}" type="sibTrans" cxnId="{93CEBE4C-9819-47AE-AEBD-F00F9D8587C5}">
      <dgm:prSet/>
      <dgm:spPr/>
      <dgm:t>
        <a:bodyPr/>
        <a:lstStyle/>
        <a:p>
          <a:endParaRPr lang="en-US"/>
        </a:p>
      </dgm:t>
    </dgm:pt>
    <dgm:pt modelId="{EB0C611B-39C7-4FE9-B3CC-29328D2AF277}">
      <dgm:prSet phldrT="[Text]"/>
      <dgm:spPr/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7C448212-F52A-45AA-BE67-C6C57C5369AC}" type="parTrans" cxnId="{90D0C109-8E67-434A-A2B6-3723EA50A1CC}">
      <dgm:prSet/>
      <dgm:spPr/>
      <dgm:t>
        <a:bodyPr/>
        <a:lstStyle/>
        <a:p>
          <a:endParaRPr lang="en-US"/>
        </a:p>
      </dgm:t>
    </dgm:pt>
    <dgm:pt modelId="{48DCC8A4-CB7C-4C62-9661-2872A3F37B47}" type="sibTrans" cxnId="{90D0C109-8E67-434A-A2B6-3723EA50A1CC}">
      <dgm:prSet/>
      <dgm:spPr/>
      <dgm:t>
        <a:bodyPr/>
        <a:lstStyle/>
        <a:p>
          <a:endParaRPr lang="en-US"/>
        </a:p>
      </dgm:t>
    </dgm:pt>
    <dgm:pt modelId="{7066790E-74B1-4B17-BE51-BFA909A84E04}">
      <dgm:prSet phldrT="[Text]"/>
      <dgm:spPr>
        <a:solidFill>
          <a:srgbClr val="FF0000"/>
        </a:solidFill>
      </dgm:spPr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5BFF7F85-E387-43FA-83C8-186C725CC28D}" type="parTrans" cxnId="{5BBE4EFF-8DE2-410A-94CD-730C8ADA2387}">
      <dgm:prSet/>
      <dgm:spPr/>
      <dgm:t>
        <a:bodyPr/>
        <a:lstStyle/>
        <a:p>
          <a:endParaRPr lang="en-US"/>
        </a:p>
      </dgm:t>
    </dgm:pt>
    <dgm:pt modelId="{DBAA3649-6629-4780-BE93-3F2678E19DD2}" type="sibTrans" cxnId="{5BBE4EFF-8DE2-410A-94CD-730C8ADA2387}">
      <dgm:prSet/>
      <dgm:spPr/>
      <dgm:t>
        <a:bodyPr/>
        <a:lstStyle/>
        <a:p>
          <a:endParaRPr lang="en-US"/>
        </a:p>
      </dgm:t>
    </dgm:pt>
    <dgm:pt modelId="{74912DDC-3E70-4933-9934-9F8F98732229}">
      <dgm:prSet phldrT="[Text]"/>
      <dgm:spPr>
        <a:solidFill>
          <a:srgbClr val="FFC000"/>
        </a:solidFill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Sub-process</a:t>
          </a:r>
          <a:endParaRPr lang="en-US" dirty="0">
            <a:solidFill>
              <a:schemeClr val="tx1"/>
            </a:solidFill>
          </a:endParaRPr>
        </a:p>
      </dgm:t>
    </dgm:pt>
    <dgm:pt modelId="{4C939804-8E20-4B6E-BA28-97899AA790D3}" type="parTrans" cxnId="{6A94B023-840E-4E7A-8D63-79E67ED04D51}">
      <dgm:prSet/>
      <dgm:spPr/>
      <dgm:t>
        <a:bodyPr/>
        <a:lstStyle/>
        <a:p>
          <a:endParaRPr lang="en-US"/>
        </a:p>
      </dgm:t>
    </dgm:pt>
    <dgm:pt modelId="{DF8A2429-1B3A-44BF-8ED1-6D4A24FFC982}" type="sibTrans" cxnId="{6A94B023-840E-4E7A-8D63-79E67ED04D51}">
      <dgm:prSet/>
      <dgm:spPr/>
      <dgm:t>
        <a:bodyPr/>
        <a:lstStyle/>
        <a:p>
          <a:endParaRPr lang="en-US"/>
        </a:p>
      </dgm:t>
    </dgm:pt>
    <dgm:pt modelId="{186DC85C-9962-45A2-813F-D434CAFAF263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F569EDE3-70EA-4137-93A1-0B30535FEAA3}" type="parTrans" cxnId="{46A23D6F-B0EF-4DDF-B54F-89E8283EEA76}">
      <dgm:prSet/>
      <dgm:spPr/>
      <dgm:t>
        <a:bodyPr/>
        <a:lstStyle/>
        <a:p>
          <a:endParaRPr lang="en-US"/>
        </a:p>
      </dgm:t>
    </dgm:pt>
    <dgm:pt modelId="{9A706050-6B2F-4C69-8970-454E684B88B6}" type="sibTrans" cxnId="{46A23D6F-B0EF-4DDF-B54F-89E8283EEA76}">
      <dgm:prSet/>
      <dgm:spPr/>
      <dgm:t>
        <a:bodyPr/>
        <a:lstStyle/>
        <a:p>
          <a:endParaRPr lang="en-US"/>
        </a:p>
      </dgm:t>
    </dgm:pt>
    <dgm:pt modelId="{AEB0912E-57E7-42FA-97F9-72F074FB1189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8609929E-7489-4409-9C4F-5A444057A802}" type="parTrans" cxnId="{2C52910E-C86A-4C15-BF44-0E056793AAFD}">
      <dgm:prSet/>
      <dgm:spPr/>
      <dgm:t>
        <a:bodyPr/>
        <a:lstStyle/>
        <a:p>
          <a:endParaRPr lang="en-US"/>
        </a:p>
      </dgm:t>
    </dgm:pt>
    <dgm:pt modelId="{BCDE2266-3B5E-45C8-9E7D-3C69BD2098DF}" type="sibTrans" cxnId="{2C52910E-C86A-4C15-BF44-0E056793AAFD}">
      <dgm:prSet/>
      <dgm:spPr/>
      <dgm:t>
        <a:bodyPr/>
        <a:lstStyle/>
        <a:p>
          <a:endParaRPr lang="en-US"/>
        </a:p>
      </dgm:t>
    </dgm:pt>
    <dgm:pt modelId="{DB5905AB-2183-41E2-A0D5-01064A9368F3}">
      <dgm:prSet phldrT="[Text]"/>
      <dgm:spPr>
        <a:solidFill>
          <a:srgbClr val="FFC000"/>
        </a:solidFill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Sub-routine</a:t>
          </a:r>
          <a:endParaRPr lang="en-US" dirty="0">
            <a:solidFill>
              <a:schemeClr val="tx1"/>
            </a:solidFill>
          </a:endParaRPr>
        </a:p>
      </dgm:t>
    </dgm:pt>
    <dgm:pt modelId="{770522C0-2A52-4DF7-90F1-C4F3EB7E3B21}" type="parTrans" cxnId="{CDB18395-27E2-408C-80B9-9DCA7D1F34DD}">
      <dgm:prSet/>
      <dgm:spPr/>
      <dgm:t>
        <a:bodyPr/>
        <a:lstStyle/>
        <a:p>
          <a:endParaRPr lang="en-US"/>
        </a:p>
      </dgm:t>
    </dgm:pt>
    <dgm:pt modelId="{0887B4A9-912E-4154-8E1E-2AB9B74308E9}" type="sibTrans" cxnId="{CDB18395-27E2-408C-80B9-9DCA7D1F34DD}">
      <dgm:prSet/>
      <dgm:spPr/>
      <dgm:t>
        <a:bodyPr/>
        <a:lstStyle/>
        <a:p>
          <a:endParaRPr lang="en-US"/>
        </a:p>
      </dgm:t>
    </dgm:pt>
    <dgm:pt modelId="{81A12C5D-7233-4662-9D34-73097E08723A}" type="pres">
      <dgm:prSet presAssocID="{E2099E9B-1E52-4C98-98BB-D8DDBFC2E3CC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84DF19FB-83D1-4297-B7E7-77083E480073}" type="pres">
      <dgm:prSet presAssocID="{1192F4F0-FA57-4630-A170-F45E47111AE5}" presName="compNode" presStyleCnt="0"/>
      <dgm:spPr/>
    </dgm:pt>
    <dgm:pt modelId="{6B0F0C82-9D76-4386-869D-959A4409867B}" type="pres">
      <dgm:prSet presAssocID="{1192F4F0-FA57-4630-A170-F45E47111AE5}" presName="dummyConnPt" presStyleCnt="0"/>
      <dgm:spPr/>
    </dgm:pt>
    <dgm:pt modelId="{4D7EA76F-C064-49EF-8AFC-3868360AEF07}" type="pres">
      <dgm:prSet presAssocID="{1192F4F0-FA57-4630-A170-F45E47111AE5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10AE8D-B624-4066-913D-82A0512003C4}" type="pres">
      <dgm:prSet presAssocID="{DACB33DA-D437-40FA-8F81-A6DC24446239}" presName="sibTrans" presStyleLbl="bgSibTrans2D1" presStyleIdx="0" presStyleCnt="8"/>
      <dgm:spPr/>
      <dgm:t>
        <a:bodyPr/>
        <a:lstStyle/>
        <a:p>
          <a:endParaRPr lang="en-US"/>
        </a:p>
      </dgm:t>
    </dgm:pt>
    <dgm:pt modelId="{9893B425-7AF2-44EA-83BB-9011327D6914}" type="pres">
      <dgm:prSet presAssocID="{C56C6945-EA24-4CD1-8F72-DAAF8A75ACAA}" presName="compNode" presStyleCnt="0"/>
      <dgm:spPr/>
    </dgm:pt>
    <dgm:pt modelId="{0ED3F607-915A-43D2-BDAF-D3329453ECEB}" type="pres">
      <dgm:prSet presAssocID="{C56C6945-EA24-4CD1-8F72-DAAF8A75ACAA}" presName="dummyConnPt" presStyleCnt="0"/>
      <dgm:spPr/>
    </dgm:pt>
    <dgm:pt modelId="{5762BA36-EFA9-4BDE-9928-25D18B8EC4E4}" type="pres">
      <dgm:prSet presAssocID="{C56C6945-EA24-4CD1-8F72-DAAF8A75ACA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F0D9CA-2937-4993-BB71-5020A492A06A}" type="pres">
      <dgm:prSet presAssocID="{BBA272A5-D96A-4F73-BE48-B7D0D1E8DD4F}" presName="sibTrans" presStyleLbl="bgSibTrans2D1" presStyleIdx="1" presStyleCnt="8"/>
      <dgm:spPr/>
      <dgm:t>
        <a:bodyPr/>
        <a:lstStyle/>
        <a:p>
          <a:endParaRPr lang="en-US"/>
        </a:p>
      </dgm:t>
    </dgm:pt>
    <dgm:pt modelId="{366B7D48-6607-464B-8EEF-C527ED82FE9F}" type="pres">
      <dgm:prSet presAssocID="{79343CCA-3B0C-44B8-A00B-EEACC0A0791B}" presName="compNode" presStyleCnt="0"/>
      <dgm:spPr/>
    </dgm:pt>
    <dgm:pt modelId="{970CEB34-F719-472B-B590-F19FBFAF5BEE}" type="pres">
      <dgm:prSet presAssocID="{79343CCA-3B0C-44B8-A00B-EEACC0A0791B}" presName="dummyConnPt" presStyleCnt="0"/>
      <dgm:spPr/>
    </dgm:pt>
    <dgm:pt modelId="{DFE929F3-F1EB-4E33-B6DC-D616C690BB18}" type="pres">
      <dgm:prSet presAssocID="{79343CCA-3B0C-44B8-A00B-EEACC0A0791B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E35F0C-4E28-456A-A879-9552EF557560}" type="pres">
      <dgm:prSet presAssocID="{54733E06-511B-4931-AF6A-4A152CEF426A}" presName="sibTrans" presStyleLbl="bgSibTrans2D1" presStyleIdx="2" presStyleCnt="8"/>
      <dgm:spPr/>
      <dgm:t>
        <a:bodyPr/>
        <a:lstStyle/>
        <a:p>
          <a:endParaRPr lang="en-US"/>
        </a:p>
      </dgm:t>
    </dgm:pt>
    <dgm:pt modelId="{B9D26EF1-B305-46E2-9F3C-F58C81868C34}" type="pres">
      <dgm:prSet presAssocID="{EB0C611B-39C7-4FE9-B3CC-29328D2AF277}" presName="compNode" presStyleCnt="0"/>
      <dgm:spPr/>
    </dgm:pt>
    <dgm:pt modelId="{5F3BBC51-583E-4024-B235-625C83901186}" type="pres">
      <dgm:prSet presAssocID="{EB0C611B-39C7-4FE9-B3CC-29328D2AF277}" presName="dummyConnPt" presStyleCnt="0"/>
      <dgm:spPr/>
    </dgm:pt>
    <dgm:pt modelId="{308492C1-4849-45F3-9E2F-9AD196C43577}" type="pres">
      <dgm:prSet presAssocID="{EB0C611B-39C7-4FE9-B3CC-29328D2AF277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43EFD1-D253-48D5-95D9-A694A849D7DB}" type="pres">
      <dgm:prSet presAssocID="{48DCC8A4-CB7C-4C62-9661-2872A3F37B47}" presName="sibTrans" presStyleLbl="bgSibTrans2D1" presStyleIdx="3" presStyleCnt="8"/>
      <dgm:spPr/>
      <dgm:t>
        <a:bodyPr/>
        <a:lstStyle/>
        <a:p>
          <a:endParaRPr lang="en-US"/>
        </a:p>
      </dgm:t>
    </dgm:pt>
    <dgm:pt modelId="{88412258-B6CC-4DC0-9A8C-930810D901C3}" type="pres">
      <dgm:prSet presAssocID="{7066790E-74B1-4B17-BE51-BFA909A84E04}" presName="compNode" presStyleCnt="0"/>
      <dgm:spPr/>
    </dgm:pt>
    <dgm:pt modelId="{475C730D-9249-4EEE-80E2-60E51527D340}" type="pres">
      <dgm:prSet presAssocID="{7066790E-74B1-4B17-BE51-BFA909A84E04}" presName="dummyConnPt" presStyleCnt="0"/>
      <dgm:spPr/>
    </dgm:pt>
    <dgm:pt modelId="{1ADF6FF1-015F-4E57-9A44-229AB15BB891}" type="pres">
      <dgm:prSet presAssocID="{7066790E-74B1-4B17-BE51-BFA909A84E04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1353A4-ED70-4ACD-A43B-15BE7DF74A15}" type="pres">
      <dgm:prSet presAssocID="{DBAA3649-6629-4780-BE93-3F2678E19DD2}" presName="sibTrans" presStyleLbl="bgSibTrans2D1" presStyleIdx="4" presStyleCnt="8"/>
      <dgm:spPr/>
      <dgm:t>
        <a:bodyPr/>
        <a:lstStyle/>
        <a:p>
          <a:endParaRPr lang="en-US"/>
        </a:p>
      </dgm:t>
    </dgm:pt>
    <dgm:pt modelId="{280B9175-CB74-4213-8E5A-896A777A98E8}" type="pres">
      <dgm:prSet presAssocID="{74912DDC-3E70-4933-9934-9F8F98732229}" presName="compNode" presStyleCnt="0"/>
      <dgm:spPr/>
    </dgm:pt>
    <dgm:pt modelId="{26F1345C-9ED7-41DF-9D20-487432D40662}" type="pres">
      <dgm:prSet presAssocID="{74912DDC-3E70-4933-9934-9F8F98732229}" presName="dummyConnPt" presStyleCnt="0"/>
      <dgm:spPr/>
    </dgm:pt>
    <dgm:pt modelId="{1AB70730-DE4F-45BF-AC19-3E8ACDC3FCF7}" type="pres">
      <dgm:prSet presAssocID="{74912DDC-3E70-4933-9934-9F8F98732229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39C1DA-0423-4F1A-B878-74279D89C51A}" type="pres">
      <dgm:prSet presAssocID="{DF8A2429-1B3A-44BF-8ED1-6D4A24FFC982}" presName="sibTrans" presStyleLbl="bgSibTrans2D1" presStyleIdx="5" presStyleCnt="8"/>
      <dgm:spPr/>
      <dgm:t>
        <a:bodyPr/>
        <a:lstStyle/>
        <a:p>
          <a:endParaRPr lang="en-US"/>
        </a:p>
      </dgm:t>
    </dgm:pt>
    <dgm:pt modelId="{54000CC0-48B7-46AA-920D-D19E4E40E878}" type="pres">
      <dgm:prSet presAssocID="{186DC85C-9962-45A2-813F-D434CAFAF263}" presName="compNode" presStyleCnt="0"/>
      <dgm:spPr/>
    </dgm:pt>
    <dgm:pt modelId="{4DFE7203-6C1C-4FCF-9BA8-7E457641868C}" type="pres">
      <dgm:prSet presAssocID="{186DC85C-9962-45A2-813F-D434CAFAF263}" presName="dummyConnPt" presStyleCnt="0"/>
      <dgm:spPr/>
    </dgm:pt>
    <dgm:pt modelId="{2F16D533-F0F7-4D6C-A8F6-6B7A08066E20}" type="pres">
      <dgm:prSet presAssocID="{186DC85C-9962-45A2-813F-D434CAFAF263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F1686F-0707-456D-9F7D-F7239970FA29}" type="pres">
      <dgm:prSet presAssocID="{9A706050-6B2F-4C69-8970-454E684B88B6}" presName="sibTrans" presStyleLbl="bgSibTrans2D1" presStyleIdx="6" presStyleCnt="8"/>
      <dgm:spPr/>
      <dgm:t>
        <a:bodyPr/>
        <a:lstStyle/>
        <a:p>
          <a:endParaRPr lang="en-US"/>
        </a:p>
      </dgm:t>
    </dgm:pt>
    <dgm:pt modelId="{56BB8644-71E1-4329-A32C-0D4E9C72ED7D}" type="pres">
      <dgm:prSet presAssocID="{AEB0912E-57E7-42FA-97F9-72F074FB1189}" presName="compNode" presStyleCnt="0"/>
      <dgm:spPr/>
    </dgm:pt>
    <dgm:pt modelId="{34291B4D-8C18-48AA-835E-D2AE56EFA013}" type="pres">
      <dgm:prSet presAssocID="{AEB0912E-57E7-42FA-97F9-72F074FB1189}" presName="dummyConnPt" presStyleCnt="0"/>
      <dgm:spPr/>
    </dgm:pt>
    <dgm:pt modelId="{8007E9BB-788C-44B4-B2D9-149C2CE7002B}" type="pres">
      <dgm:prSet presAssocID="{AEB0912E-57E7-42FA-97F9-72F074FB1189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0366A-F553-4618-9355-E0DA9DF954A2}" type="pres">
      <dgm:prSet presAssocID="{BCDE2266-3B5E-45C8-9E7D-3C69BD2098DF}" presName="sibTrans" presStyleLbl="bgSibTrans2D1" presStyleIdx="7" presStyleCnt="8"/>
      <dgm:spPr/>
      <dgm:t>
        <a:bodyPr/>
        <a:lstStyle/>
        <a:p>
          <a:endParaRPr lang="en-US"/>
        </a:p>
      </dgm:t>
    </dgm:pt>
    <dgm:pt modelId="{E520604D-F27F-4F77-9FA0-17BF9C3E635F}" type="pres">
      <dgm:prSet presAssocID="{DB5905AB-2183-41E2-A0D5-01064A9368F3}" presName="compNode" presStyleCnt="0"/>
      <dgm:spPr/>
    </dgm:pt>
    <dgm:pt modelId="{EBDDAF38-69BE-4459-86A1-E8F9E2E2ECA9}" type="pres">
      <dgm:prSet presAssocID="{DB5905AB-2183-41E2-A0D5-01064A9368F3}" presName="dummyConnPt" presStyleCnt="0"/>
      <dgm:spPr/>
    </dgm:pt>
    <dgm:pt modelId="{CBB78A34-261D-4A3F-B529-F72E5BF01D05}" type="pres">
      <dgm:prSet presAssocID="{DB5905AB-2183-41E2-A0D5-01064A9368F3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7261BA6-4CF0-4989-B500-463A5822DF58}" type="presOf" srcId="{186DC85C-9962-45A2-813F-D434CAFAF263}" destId="{2F16D533-F0F7-4D6C-A8F6-6B7A08066E20}" srcOrd="0" destOrd="0" presId="urn:microsoft.com/office/officeart/2005/8/layout/bProcess4"/>
    <dgm:cxn modelId="{A0722592-17D0-44B5-B6B8-ECF056C5C50D}" type="presOf" srcId="{9A706050-6B2F-4C69-8970-454E684B88B6}" destId="{A8F1686F-0707-456D-9F7D-F7239970FA29}" srcOrd="0" destOrd="0" presId="urn:microsoft.com/office/officeart/2005/8/layout/bProcess4"/>
    <dgm:cxn modelId="{CDB18395-27E2-408C-80B9-9DCA7D1F34DD}" srcId="{E2099E9B-1E52-4C98-98BB-D8DDBFC2E3CC}" destId="{DB5905AB-2183-41E2-A0D5-01064A9368F3}" srcOrd="8" destOrd="0" parTransId="{770522C0-2A52-4DF7-90F1-C4F3EB7E3B21}" sibTransId="{0887B4A9-912E-4154-8E1E-2AB9B74308E9}"/>
    <dgm:cxn modelId="{90D0C109-8E67-434A-A2B6-3723EA50A1CC}" srcId="{E2099E9B-1E52-4C98-98BB-D8DDBFC2E3CC}" destId="{EB0C611B-39C7-4FE9-B3CC-29328D2AF277}" srcOrd="3" destOrd="0" parTransId="{7C448212-F52A-45AA-BE67-C6C57C5369AC}" sibTransId="{48DCC8A4-CB7C-4C62-9661-2872A3F37B47}"/>
    <dgm:cxn modelId="{AC52DE9E-DF14-4506-9DBF-C47C3340B9ED}" type="presOf" srcId="{DB5905AB-2183-41E2-A0D5-01064A9368F3}" destId="{CBB78A34-261D-4A3F-B529-F72E5BF01D05}" srcOrd="0" destOrd="0" presId="urn:microsoft.com/office/officeart/2005/8/layout/bProcess4"/>
    <dgm:cxn modelId="{46215BBB-48FE-4DB7-93E4-344AB0CAFA71}" type="presOf" srcId="{48DCC8A4-CB7C-4C62-9661-2872A3F37B47}" destId="{2943EFD1-D253-48D5-95D9-A694A849D7DB}" srcOrd="0" destOrd="0" presId="urn:microsoft.com/office/officeart/2005/8/layout/bProcess4"/>
    <dgm:cxn modelId="{37D561E2-09D4-4752-BCAF-24B2EE24736F}" type="presOf" srcId="{AEB0912E-57E7-42FA-97F9-72F074FB1189}" destId="{8007E9BB-788C-44B4-B2D9-149C2CE7002B}" srcOrd="0" destOrd="0" presId="urn:microsoft.com/office/officeart/2005/8/layout/bProcess4"/>
    <dgm:cxn modelId="{72EF3963-98E4-45DD-B201-7F513BD409E7}" type="presOf" srcId="{7066790E-74B1-4B17-BE51-BFA909A84E04}" destId="{1ADF6FF1-015F-4E57-9A44-229AB15BB891}" srcOrd="0" destOrd="0" presId="urn:microsoft.com/office/officeart/2005/8/layout/bProcess4"/>
    <dgm:cxn modelId="{60037F3B-4C46-4B06-BDDC-A0F38897088E}" srcId="{E2099E9B-1E52-4C98-98BB-D8DDBFC2E3CC}" destId="{1192F4F0-FA57-4630-A170-F45E47111AE5}" srcOrd="0" destOrd="0" parTransId="{4F3B6F64-86D7-45DD-8222-9BC9181590DA}" sibTransId="{DACB33DA-D437-40FA-8F81-A6DC24446239}"/>
    <dgm:cxn modelId="{888E6414-FA94-4355-BBA7-56E2EB5F8F85}" type="presOf" srcId="{C56C6945-EA24-4CD1-8F72-DAAF8A75ACAA}" destId="{5762BA36-EFA9-4BDE-9928-25D18B8EC4E4}" srcOrd="0" destOrd="0" presId="urn:microsoft.com/office/officeart/2005/8/layout/bProcess4"/>
    <dgm:cxn modelId="{4E8B82C4-9EB6-4897-8618-95E43010BBCC}" type="presOf" srcId="{DF8A2429-1B3A-44BF-8ED1-6D4A24FFC982}" destId="{7D39C1DA-0423-4F1A-B878-74279D89C51A}" srcOrd="0" destOrd="0" presId="urn:microsoft.com/office/officeart/2005/8/layout/bProcess4"/>
    <dgm:cxn modelId="{46A23D6F-B0EF-4DDF-B54F-89E8283EEA76}" srcId="{E2099E9B-1E52-4C98-98BB-D8DDBFC2E3CC}" destId="{186DC85C-9962-45A2-813F-D434CAFAF263}" srcOrd="6" destOrd="0" parTransId="{F569EDE3-70EA-4137-93A1-0B30535FEAA3}" sibTransId="{9A706050-6B2F-4C69-8970-454E684B88B6}"/>
    <dgm:cxn modelId="{F5E46739-427F-4CCB-A981-EA57C2356B04}" type="presOf" srcId="{DBAA3649-6629-4780-BE93-3F2678E19DD2}" destId="{151353A4-ED70-4ACD-A43B-15BE7DF74A15}" srcOrd="0" destOrd="0" presId="urn:microsoft.com/office/officeart/2005/8/layout/bProcess4"/>
    <dgm:cxn modelId="{FC855E92-5CF6-47B0-80CD-DD4D5D899FFA}" type="presOf" srcId="{1192F4F0-FA57-4630-A170-F45E47111AE5}" destId="{4D7EA76F-C064-49EF-8AFC-3868360AEF07}" srcOrd="0" destOrd="0" presId="urn:microsoft.com/office/officeart/2005/8/layout/bProcess4"/>
    <dgm:cxn modelId="{D3872E0E-7570-4508-925A-0437C137D103}" type="presOf" srcId="{E2099E9B-1E52-4C98-98BB-D8DDBFC2E3CC}" destId="{81A12C5D-7233-4662-9D34-73097E08723A}" srcOrd="0" destOrd="0" presId="urn:microsoft.com/office/officeart/2005/8/layout/bProcess4"/>
    <dgm:cxn modelId="{E5D2A67F-4BDA-4C16-9F84-27E484D1083C}" type="presOf" srcId="{74912DDC-3E70-4933-9934-9F8F98732229}" destId="{1AB70730-DE4F-45BF-AC19-3E8ACDC3FCF7}" srcOrd="0" destOrd="0" presId="urn:microsoft.com/office/officeart/2005/8/layout/bProcess4"/>
    <dgm:cxn modelId="{F66249F3-F766-4C99-A433-1C5D73698790}" type="presOf" srcId="{54733E06-511B-4931-AF6A-4A152CEF426A}" destId="{ABE35F0C-4E28-456A-A879-9552EF557560}" srcOrd="0" destOrd="0" presId="urn:microsoft.com/office/officeart/2005/8/layout/bProcess4"/>
    <dgm:cxn modelId="{A402893B-D802-4AB6-B8DA-19296340B9FF}" type="presOf" srcId="{DACB33DA-D437-40FA-8F81-A6DC24446239}" destId="{C910AE8D-B624-4066-913D-82A0512003C4}" srcOrd="0" destOrd="0" presId="urn:microsoft.com/office/officeart/2005/8/layout/bProcess4"/>
    <dgm:cxn modelId="{5BBE4EFF-8DE2-410A-94CD-730C8ADA2387}" srcId="{E2099E9B-1E52-4C98-98BB-D8DDBFC2E3CC}" destId="{7066790E-74B1-4B17-BE51-BFA909A84E04}" srcOrd="4" destOrd="0" parTransId="{5BFF7F85-E387-43FA-83C8-186C725CC28D}" sibTransId="{DBAA3649-6629-4780-BE93-3F2678E19DD2}"/>
    <dgm:cxn modelId="{8475914C-FB34-4D8A-8781-4A4D8193DC09}" type="presOf" srcId="{BBA272A5-D96A-4F73-BE48-B7D0D1E8DD4F}" destId="{DEF0D9CA-2937-4993-BB71-5020A492A06A}" srcOrd="0" destOrd="0" presId="urn:microsoft.com/office/officeart/2005/8/layout/bProcess4"/>
    <dgm:cxn modelId="{EE63CED3-EA74-44C5-AC3F-8729839E3715}" srcId="{E2099E9B-1E52-4C98-98BB-D8DDBFC2E3CC}" destId="{C56C6945-EA24-4CD1-8F72-DAAF8A75ACAA}" srcOrd="1" destOrd="0" parTransId="{C7F45AB2-E0F4-4580-B969-35CC39780352}" sibTransId="{BBA272A5-D96A-4F73-BE48-B7D0D1E8DD4F}"/>
    <dgm:cxn modelId="{0A2EFC2E-2C9D-40C1-8F13-6BE5299C5208}" type="presOf" srcId="{BCDE2266-3B5E-45C8-9E7D-3C69BD2098DF}" destId="{5D90366A-F553-4618-9355-E0DA9DF954A2}" srcOrd="0" destOrd="0" presId="urn:microsoft.com/office/officeart/2005/8/layout/bProcess4"/>
    <dgm:cxn modelId="{93CEBE4C-9819-47AE-AEBD-F00F9D8587C5}" srcId="{E2099E9B-1E52-4C98-98BB-D8DDBFC2E3CC}" destId="{79343CCA-3B0C-44B8-A00B-EEACC0A0791B}" srcOrd="2" destOrd="0" parTransId="{5EBE46C5-3707-46DA-8C9B-B3C7DE98E969}" sibTransId="{54733E06-511B-4931-AF6A-4A152CEF426A}"/>
    <dgm:cxn modelId="{CB7B8606-2E36-4E24-B644-788BA6465916}" type="presOf" srcId="{79343CCA-3B0C-44B8-A00B-EEACC0A0791B}" destId="{DFE929F3-F1EB-4E33-B6DC-D616C690BB18}" srcOrd="0" destOrd="0" presId="urn:microsoft.com/office/officeart/2005/8/layout/bProcess4"/>
    <dgm:cxn modelId="{6A94B023-840E-4E7A-8D63-79E67ED04D51}" srcId="{E2099E9B-1E52-4C98-98BB-D8DDBFC2E3CC}" destId="{74912DDC-3E70-4933-9934-9F8F98732229}" srcOrd="5" destOrd="0" parTransId="{4C939804-8E20-4B6E-BA28-97899AA790D3}" sibTransId="{DF8A2429-1B3A-44BF-8ED1-6D4A24FFC982}"/>
    <dgm:cxn modelId="{95342DBB-4D54-4C4C-9C98-D0D93B872A99}" type="presOf" srcId="{EB0C611B-39C7-4FE9-B3CC-29328D2AF277}" destId="{308492C1-4849-45F3-9E2F-9AD196C43577}" srcOrd="0" destOrd="0" presId="urn:microsoft.com/office/officeart/2005/8/layout/bProcess4"/>
    <dgm:cxn modelId="{2C52910E-C86A-4C15-BF44-0E056793AAFD}" srcId="{E2099E9B-1E52-4C98-98BB-D8DDBFC2E3CC}" destId="{AEB0912E-57E7-42FA-97F9-72F074FB1189}" srcOrd="7" destOrd="0" parTransId="{8609929E-7489-4409-9C4F-5A444057A802}" sibTransId="{BCDE2266-3B5E-45C8-9E7D-3C69BD2098DF}"/>
    <dgm:cxn modelId="{CC0C3C48-01CD-4F5A-94A2-5B4FEB50F401}" type="presParOf" srcId="{81A12C5D-7233-4662-9D34-73097E08723A}" destId="{84DF19FB-83D1-4297-B7E7-77083E480073}" srcOrd="0" destOrd="0" presId="urn:microsoft.com/office/officeart/2005/8/layout/bProcess4"/>
    <dgm:cxn modelId="{98E03799-2D6B-4FC2-BA56-CF20F779FC46}" type="presParOf" srcId="{84DF19FB-83D1-4297-B7E7-77083E480073}" destId="{6B0F0C82-9D76-4386-869D-959A4409867B}" srcOrd="0" destOrd="0" presId="urn:microsoft.com/office/officeart/2005/8/layout/bProcess4"/>
    <dgm:cxn modelId="{276887BD-438A-4EF4-A0AA-E70B958C647D}" type="presParOf" srcId="{84DF19FB-83D1-4297-B7E7-77083E480073}" destId="{4D7EA76F-C064-49EF-8AFC-3868360AEF07}" srcOrd="1" destOrd="0" presId="urn:microsoft.com/office/officeart/2005/8/layout/bProcess4"/>
    <dgm:cxn modelId="{0FD80C5F-7D60-4E4B-856E-BFA09157DB6F}" type="presParOf" srcId="{81A12C5D-7233-4662-9D34-73097E08723A}" destId="{C910AE8D-B624-4066-913D-82A0512003C4}" srcOrd="1" destOrd="0" presId="urn:microsoft.com/office/officeart/2005/8/layout/bProcess4"/>
    <dgm:cxn modelId="{2716C0B7-CF8E-4D23-9F47-F98AA8975FC9}" type="presParOf" srcId="{81A12C5D-7233-4662-9D34-73097E08723A}" destId="{9893B425-7AF2-44EA-83BB-9011327D6914}" srcOrd="2" destOrd="0" presId="urn:microsoft.com/office/officeart/2005/8/layout/bProcess4"/>
    <dgm:cxn modelId="{04A36DFD-C622-4FBE-881B-2A41A2D9EA1E}" type="presParOf" srcId="{9893B425-7AF2-44EA-83BB-9011327D6914}" destId="{0ED3F607-915A-43D2-BDAF-D3329453ECEB}" srcOrd="0" destOrd="0" presId="urn:microsoft.com/office/officeart/2005/8/layout/bProcess4"/>
    <dgm:cxn modelId="{5092CF76-77F0-4104-BED3-CF14AD7F043E}" type="presParOf" srcId="{9893B425-7AF2-44EA-83BB-9011327D6914}" destId="{5762BA36-EFA9-4BDE-9928-25D18B8EC4E4}" srcOrd="1" destOrd="0" presId="urn:microsoft.com/office/officeart/2005/8/layout/bProcess4"/>
    <dgm:cxn modelId="{83B9D1E4-D548-45E8-A17B-FDFA1625EF43}" type="presParOf" srcId="{81A12C5D-7233-4662-9D34-73097E08723A}" destId="{DEF0D9CA-2937-4993-BB71-5020A492A06A}" srcOrd="3" destOrd="0" presId="urn:microsoft.com/office/officeart/2005/8/layout/bProcess4"/>
    <dgm:cxn modelId="{C1035A04-0CD9-42F5-8263-E7A02335BC85}" type="presParOf" srcId="{81A12C5D-7233-4662-9D34-73097E08723A}" destId="{366B7D48-6607-464B-8EEF-C527ED82FE9F}" srcOrd="4" destOrd="0" presId="urn:microsoft.com/office/officeart/2005/8/layout/bProcess4"/>
    <dgm:cxn modelId="{25E9ACF2-99F3-4E06-8096-39C897A73D64}" type="presParOf" srcId="{366B7D48-6607-464B-8EEF-C527ED82FE9F}" destId="{970CEB34-F719-472B-B590-F19FBFAF5BEE}" srcOrd="0" destOrd="0" presId="urn:microsoft.com/office/officeart/2005/8/layout/bProcess4"/>
    <dgm:cxn modelId="{DD6C3FD0-996C-43AC-A8B1-1CB2A1CE34CB}" type="presParOf" srcId="{366B7D48-6607-464B-8EEF-C527ED82FE9F}" destId="{DFE929F3-F1EB-4E33-B6DC-D616C690BB18}" srcOrd="1" destOrd="0" presId="urn:microsoft.com/office/officeart/2005/8/layout/bProcess4"/>
    <dgm:cxn modelId="{E56A2F81-A107-40D9-B2FE-85BF2966F265}" type="presParOf" srcId="{81A12C5D-7233-4662-9D34-73097E08723A}" destId="{ABE35F0C-4E28-456A-A879-9552EF557560}" srcOrd="5" destOrd="0" presId="urn:microsoft.com/office/officeart/2005/8/layout/bProcess4"/>
    <dgm:cxn modelId="{C6FD4535-2F68-44B2-97EF-12D40D4E2697}" type="presParOf" srcId="{81A12C5D-7233-4662-9D34-73097E08723A}" destId="{B9D26EF1-B305-46E2-9F3C-F58C81868C34}" srcOrd="6" destOrd="0" presId="urn:microsoft.com/office/officeart/2005/8/layout/bProcess4"/>
    <dgm:cxn modelId="{BDAE767F-5438-4FB2-962B-9C35208F50D6}" type="presParOf" srcId="{B9D26EF1-B305-46E2-9F3C-F58C81868C34}" destId="{5F3BBC51-583E-4024-B235-625C83901186}" srcOrd="0" destOrd="0" presId="urn:microsoft.com/office/officeart/2005/8/layout/bProcess4"/>
    <dgm:cxn modelId="{F8029C4F-C5D1-4D32-81EC-34706202C90C}" type="presParOf" srcId="{B9D26EF1-B305-46E2-9F3C-F58C81868C34}" destId="{308492C1-4849-45F3-9E2F-9AD196C43577}" srcOrd="1" destOrd="0" presId="urn:microsoft.com/office/officeart/2005/8/layout/bProcess4"/>
    <dgm:cxn modelId="{AD85E24D-E1A5-4B71-8443-E8B862A50254}" type="presParOf" srcId="{81A12C5D-7233-4662-9D34-73097E08723A}" destId="{2943EFD1-D253-48D5-95D9-A694A849D7DB}" srcOrd="7" destOrd="0" presId="urn:microsoft.com/office/officeart/2005/8/layout/bProcess4"/>
    <dgm:cxn modelId="{2A0F1259-DF3D-4856-A6D8-3B25F8D95FB0}" type="presParOf" srcId="{81A12C5D-7233-4662-9D34-73097E08723A}" destId="{88412258-B6CC-4DC0-9A8C-930810D901C3}" srcOrd="8" destOrd="0" presId="urn:microsoft.com/office/officeart/2005/8/layout/bProcess4"/>
    <dgm:cxn modelId="{CC4178AB-99A6-4E18-A201-CF535A3FC6D9}" type="presParOf" srcId="{88412258-B6CC-4DC0-9A8C-930810D901C3}" destId="{475C730D-9249-4EEE-80E2-60E51527D340}" srcOrd="0" destOrd="0" presId="urn:microsoft.com/office/officeart/2005/8/layout/bProcess4"/>
    <dgm:cxn modelId="{2644CB75-1E45-4DDB-8D43-0AFC7652F299}" type="presParOf" srcId="{88412258-B6CC-4DC0-9A8C-930810D901C3}" destId="{1ADF6FF1-015F-4E57-9A44-229AB15BB891}" srcOrd="1" destOrd="0" presId="urn:microsoft.com/office/officeart/2005/8/layout/bProcess4"/>
    <dgm:cxn modelId="{CFFE3BE5-E9BC-415C-AD21-014D48878CA7}" type="presParOf" srcId="{81A12C5D-7233-4662-9D34-73097E08723A}" destId="{151353A4-ED70-4ACD-A43B-15BE7DF74A15}" srcOrd="9" destOrd="0" presId="urn:microsoft.com/office/officeart/2005/8/layout/bProcess4"/>
    <dgm:cxn modelId="{2FDB932B-AE08-464C-BA16-3C60C8AF6050}" type="presParOf" srcId="{81A12C5D-7233-4662-9D34-73097E08723A}" destId="{280B9175-CB74-4213-8E5A-896A777A98E8}" srcOrd="10" destOrd="0" presId="urn:microsoft.com/office/officeart/2005/8/layout/bProcess4"/>
    <dgm:cxn modelId="{7C39965B-5EFE-4E39-BE5F-0041F7806171}" type="presParOf" srcId="{280B9175-CB74-4213-8E5A-896A777A98E8}" destId="{26F1345C-9ED7-41DF-9D20-487432D40662}" srcOrd="0" destOrd="0" presId="urn:microsoft.com/office/officeart/2005/8/layout/bProcess4"/>
    <dgm:cxn modelId="{B809EF86-E6D3-436D-BEE0-4C5838944C53}" type="presParOf" srcId="{280B9175-CB74-4213-8E5A-896A777A98E8}" destId="{1AB70730-DE4F-45BF-AC19-3E8ACDC3FCF7}" srcOrd="1" destOrd="0" presId="urn:microsoft.com/office/officeart/2005/8/layout/bProcess4"/>
    <dgm:cxn modelId="{7B0A5895-25F1-4540-AC82-9AEC2624D400}" type="presParOf" srcId="{81A12C5D-7233-4662-9D34-73097E08723A}" destId="{7D39C1DA-0423-4F1A-B878-74279D89C51A}" srcOrd="11" destOrd="0" presId="urn:microsoft.com/office/officeart/2005/8/layout/bProcess4"/>
    <dgm:cxn modelId="{5A898C2D-F5F5-4C63-8ED0-8096CB717C31}" type="presParOf" srcId="{81A12C5D-7233-4662-9D34-73097E08723A}" destId="{54000CC0-48B7-46AA-920D-D19E4E40E878}" srcOrd="12" destOrd="0" presId="urn:microsoft.com/office/officeart/2005/8/layout/bProcess4"/>
    <dgm:cxn modelId="{6379A19A-AAC9-4C00-93B7-DB3DE136B4C7}" type="presParOf" srcId="{54000CC0-48B7-46AA-920D-D19E4E40E878}" destId="{4DFE7203-6C1C-4FCF-9BA8-7E457641868C}" srcOrd="0" destOrd="0" presId="urn:microsoft.com/office/officeart/2005/8/layout/bProcess4"/>
    <dgm:cxn modelId="{0156B84B-5D32-463E-8E18-E18F731FC579}" type="presParOf" srcId="{54000CC0-48B7-46AA-920D-D19E4E40E878}" destId="{2F16D533-F0F7-4D6C-A8F6-6B7A08066E20}" srcOrd="1" destOrd="0" presId="urn:microsoft.com/office/officeart/2005/8/layout/bProcess4"/>
    <dgm:cxn modelId="{388E4922-C767-404A-A3F0-DA7CD32C9AC8}" type="presParOf" srcId="{81A12C5D-7233-4662-9D34-73097E08723A}" destId="{A8F1686F-0707-456D-9F7D-F7239970FA29}" srcOrd="13" destOrd="0" presId="urn:microsoft.com/office/officeart/2005/8/layout/bProcess4"/>
    <dgm:cxn modelId="{7BE38420-8FBC-4855-B765-97C836E3D19C}" type="presParOf" srcId="{81A12C5D-7233-4662-9D34-73097E08723A}" destId="{56BB8644-71E1-4329-A32C-0D4E9C72ED7D}" srcOrd="14" destOrd="0" presId="urn:microsoft.com/office/officeart/2005/8/layout/bProcess4"/>
    <dgm:cxn modelId="{5CE2278A-E7DA-4BF9-9B6F-AFEFE688591D}" type="presParOf" srcId="{56BB8644-71E1-4329-A32C-0D4E9C72ED7D}" destId="{34291B4D-8C18-48AA-835E-D2AE56EFA013}" srcOrd="0" destOrd="0" presId="urn:microsoft.com/office/officeart/2005/8/layout/bProcess4"/>
    <dgm:cxn modelId="{E8CAC833-4CDB-4D18-A78A-E9ED5507C5D4}" type="presParOf" srcId="{56BB8644-71E1-4329-A32C-0D4E9C72ED7D}" destId="{8007E9BB-788C-44B4-B2D9-149C2CE7002B}" srcOrd="1" destOrd="0" presId="urn:microsoft.com/office/officeart/2005/8/layout/bProcess4"/>
    <dgm:cxn modelId="{3217E7E6-30BF-444C-860B-F0BB34AC848E}" type="presParOf" srcId="{81A12C5D-7233-4662-9D34-73097E08723A}" destId="{5D90366A-F553-4618-9355-E0DA9DF954A2}" srcOrd="15" destOrd="0" presId="urn:microsoft.com/office/officeart/2005/8/layout/bProcess4"/>
    <dgm:cxn modelId="{025D41E4-22A8-4764-B8C3-A75496891FE1}" type="presParOf" srcId="{81A12C5D-7233-4662-9D34-73097E08723A}" destId="{E520604D-F27F-4F77-9FA0-17BF9C3E635F}" srcOrd="16" destOrd="0" presId="urn:microsoft.com/office/officeart/2005/8/layout/bProcess4"/>
    <dgm:cxn modelId="{D1360AB0-E832-4CCA-8A11-1D5579BA4230}" type="presParOf" srcId="{E520604D-F27F-4F77-9FA0-17BF9C3E635F}" destId="{EBDDAF38-69BE-4459-86A1-E8F9E2E2ECA9}" srcOrd="0" destOrd="0" presId="urn:microsoft.com/office/officeart/2005/8/layout/bProcess4"/>
    <dgm:cxn modelId="{A68D384E-62DD-4A38-A379-8CEF24CC5631}" type="presParOf" srcId="{E520604D-F27F-4F77-9FA0-17BF9C3E635F}" destId="{CBB78A34-261D-4A3F-B529-F72E5BF01D05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30E7702-CFFF-440A-BCE0-C76FD6DC7F03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2279E0-303B-4791-B6E5-EF938FBCF9D3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2.0</a:t>
          </a:r>
          <a:endParaRPr lang="en-US" sz="2800" dirty="0">
            <a:latin typeface="Calibri" panose="020F0502020204030204" pitchFamily="34" charset="0"/>
          </a:endParaRPr>
        </a:p>
      </dgm:t>
    </dgm:pt>
    <dgm:pt modelId="{4C06B380-C1BE-46BD-8EB0-BBE3574A2B64}" type="parTrans" cxnId="{5DDF0AEC-4656-48A7-BE9F-B7D7212B7B16}">
      <dgm:prSet/>
      <dgm:spPr/>
      <dgm:t>
        <a:bodyPr/>
        <a:lstStyle/>
        <a:p>
          <a:endParaRPr lang="en-US"/>
        </a:p>
      </dgm:t>
    </dgm:pt>
    <dgm:pt modelId="{1ED62ECA-CC9E-4C72-A269-A57E82712EC4}" type="sibTrans" cxnId="{5DDF0AEC-4656-48A7-BE9F-B7D7212B7B16}">
      <dgm:prSet/>
      <dgm:spPr/>
      <dgm:t>
        <a:bodyPr/>
        <a:lstStyle/>
        <a:p>
          <a:endParaRPr lang="en-US"/>
        </a:p>
      </dgm:t>
    </dgm:pt>
    <dgm:pt modelId="{9DA359BA-D786-48F4-9138-951120A5B098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2</a:t>
          </a:r>
          <a:endParaRPr lang="en-US" sz="2800" dirty="0">
            <a:latin typeface="Calibri" panose="020F0502020204030204" pitchFamily="34" charset="0"/>
          </a:endParaRPr>
        </a:p>
      </dgm:t>
    </dgm:pt>
    <dgm:pt modelId="{DCB9BF65-24B3-414E-8CF7-81940F1F9F6B}" type="parTrans" cxnId="{756C1331-C772-44A3-A2C2-9A96B480FB3A}">
      <dgm:prSet/>
      <dgm:spPr/>
      <dgm:t>
        <a:bodyPr/>
        <a:lstStyle/>
        <a:p>
          <a:endParaRPr lang="en-US"/>
        </a:p>
      </dgm:t>
    </dgm:pt>
    <dgm:pt modelId="{7D4B6436-D24E-474A-9EC8-D04A700E8850}" type="sibTrans" cxnId="{756C1331-C772-44A3-A2C2-9A96B480FB3A}">
      <dgm:prSet/>
      <dgm:spPr/>
      <dgm:t>
        <a:bodyPr/>
        <a:lstStyle/>
        <a:p>
          <a:endParaRPr lang="en-US"/>
        </a:p>
      </dgm:t>
    </dgm:pt>
    <dgm:pt modelId="{A4B5D2B2-F0F9-4DF6-A5EC-74202A2F9DBC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1</a:t>
          </a:r>
          <a:endParaRPr lang="en-US" sz="2800" dirty="0">
            <a:latin typeface="Calibri" panose="020F0502020204030204" pitchFamily="34" charset="0"/>
          </a:endParaRPr>
        </a:p>
      </dgm:t>
    </dgm:pt>
    <dgm:pt modelId="{75F47A1B-CD7D-4F1F-A629-DCCAF7EFBEDE}" type="parTrans" cxnId="{493CBCC2-F574-4BF1-B26C-879395947FCC}">
      <dgm:prSet/>
      <dgm:spPr/>
      <dgm:t>
        <a:bodyPr/>
        <a:lstStyle/>
        <a:p>
          <a:endParaRPr lang="en-US"/>
        </a:p>
      </dgm:t>
    </dgm:pt>
    <dgm:pt modelId="{85A4A524-1D45-4C00-9569-D0F4E0A0A769}" type="sibTrans" cxnId="{493CBCC2-F574-4BF1-B26C-879395947FCC}">
      <dgm:prSet/>
      <dgm:spPr/>
      <dgm:t>
        <a:bodyPr/>
        <a:lstStyle/>
        <a:p>
          <a:endParaRPr lang="en-US"/>
        </a:p>
      </dgm:t>
    </dgm:pt>
    <dgm:pt modelId="{F7F9CCCB-928B-4607-9C0D-F3754FB6DA6B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0</a:t>
          </a:r>
          <a:endParaRPr lang="en-US" sz="2800" dirty="0">
            <a:latin typeface="Calibri" panose="020F0502020204030204" pitchFamily="34" charset="0"/>
          </a:endParaRPr>
        </a:p>
      </dgm:t>
    </dgm:pt>
    <dgm:pt modelId="{6FDEE376-C82D-4F37-84FA-C8971A83ED6D}" type="parTrans" cxnId="{5B793361-55A9-4E16-B68F-129984F5C09D}">
      <dgm:prSet/>
      <dgm:spPr/>
      <dgm:t>
        <a:bodyPr/>
        <a:lstStyle/>
        <a:p>
          <a:endParaRPr lang="en-US"/>
        </a:p>
      </dgm:t>
    </dgm:pt>
    <dgm:pt modelId="{2B87F844-DA8F-45C1-B2EC-520389F90B46}" type="sibTrans" cxnId="{5B793361-55A9-4E16-B68F-129984F5C09D}">
      <dgm:prSet/>
      <dgm:spPr/>
      <dgm:t>
        <a:bodyPr/>
        <a:lstStyle/>
        <a:p>
          <a:endParaRPr lang="en-US"/>
        </a:p>
      </dgm:t>
    </dgm:pt>
    <dgm:pt modelId="{D957072F-66FF-42F7-AF49-BDB76FE77E90}" type="pres">
      <dgm:prSet presAssocID="{130E7702-CFFF-440A-BCE0-C76FD6DC7F03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DD94E40-E200-4FDD-A957-D71414FF547E}" type="pres">
      <dgm:prSet presAssocID="{130E7702-CFFF-440A-BCE0-C76FD6DC7F03}" presName="comp1" presStyleCnt="0"/>
      <dgm:spPr/>
    </dgm:pt>
    <dgm:pt modelId="{A1756296-C542-4FE7-9314-85298BD39BAA}" type="pres">
      <dgm:prSet presAssocID="{130E7702-CFFF-440A-BCE0-C76FD6DC7F03}" presName="circle1" presStyleLbl="node1" presStyleIdx="0" presStyleCnt="4"/>
      <dgm:spPr/>
      <dgm:t>
        <a:bodyPr/>
        <a:lstStyle/>
        <a:p>
          <a:endParaRPr lang="en-US"/>
        </a:p>
      </dgm:t>
    </dgm:pt>
    <dgm:pt modelId="{EF98A321-E4AB-4512-9218-24C416C6C191}" type="pres">
      <dgm:prSet presAssocID="{130E7702-CFFF-440A-BCE0-C76FD6DC7F03}" presName="c1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986DF7-0B2D-4DEB-AE1E-8F07C139A216}" type="pres">
      <dgm:prSet presAssocID="{130E7702-CFFF-440A-BCE0-C76FD6DC7F03}" presName="comp2" presStyleCnt="0"/>
      <dgm:spPr/>
    </dgm:pt>
    <dgm:pt modelId="{BA170D82-FF0A-47CB-BE71-7DB123384C1A}" type="pres">
      <dgm:prSet presAssocID="{130E7702-CFFF-440A-BCE0-C76FD6DC7F03}" presName="circle2" presStyleLbl="node1" presStyleIdx="1" presStyleCnt="4"/>
      <dgm:spPr/>
      <dgm:t>
        <a:bodyPr/>
        <a:lstStyle/>
        <a:p>
          <a:endParaRPr lang="en-US"/>
        </a:p>
      </dgm:t>
    </dgm:pt>
    <dgm:pt modelId="{3AFCEFD2-380D-4848-B00B-6927C7BA540B}" type="pres">
      <dgm:prSet presAssocID="{130E7702-CFFF-440A-BCE0-C76FD6DC7F03}" presName="c2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C35529-F610-483C-8B2D-3B9EF5DE5148}" type="pres">
      <dgm:prSet presAssocID="{130E7702-CFFF-440A-BCE0-C76FD6DC7F03}" presName="comp3" presStyleCnt="0"/>
      <dgm:spPr/>
    </dgm:pt>
    <dgm:pt modelId="{784EB3D6-C134-4BD3-A583-A1DF7303C402}" type="pres">
      <dgm:prSet presAssocID="{130E7702-CFFF-440A-BCE0-C76FD6DC7F03}" presName="circle3" presStyleLbl="node1" presStyleIdx="2" presStyleCnt="4"/>
      <dgm:spPr/>
      <dgm:t>
        <a:bodyPr/>
        <a:lstStyle/>
        <a:p>
          <a:endParaRPr lang="en-US"/>
        </a:p>
      </dgm:t>
    </dgm:pt>
    <dgm:pt modelId="{1885CE93-9E4E-4E4E-89A9-9DD3D92825EE}" type="pres">
      <dgm:prSet presAssocID="{130E7702-CFFF-440A-BCE0-C76FD6DC7F03}" presName="c3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709F0D-B415-45E5-A38D-C7B8CF61E9A3}" type="pres">
      <dgm:prSet presAssocID="{130E7702-CFFF-440A-BCE0-C76FD6DC7F03}" presName="comp4" presStyleCnt="0"/>
      <dgm:spPr/>
    </dgm:pt>
    <dgm:pt modelId="{B7DEB214-447C-4F57-80FE-850408C5D86A}" type="pres">
      <dgm:prSet presAssocID="{130E7702-CFFF-440A-BCE0-C76FD6DC7F03}" presName="circle4" presStyleLbl="node1" presStyleIdx="3" presStyleCnt="4"/>
      <dgm:spPr/>
      <dgm:t>
        <a:bodyPr/>
        <a:lstStyle/>
        <a:p>
          <a:endParaRPr lang="en-US"/>
        </a:p>
      </dgm:t>
    </dgm:pt>
    <dgm:pt modelId="{2CD29312-D62B-4181-8CA0-518C3C093A8F}" type="pres">
      <dgm:prSet presAssocID="{130E7702-CFFF-440A-BCE0-C76FD6DC7F03}" presName="c4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901E803-6049-4EED-9B75-B12532B832D1}" type="presOf" srcId="{A4B5D2B2-F0F9-4DF6-A5EC-74202A2F9DBC}" destId="{784EB3D6-C134-4BD3-A583-A1DF7303C402}" srcOrd="0" destOrd="0" presId="urn:microsoft.com/office/officeart/2005/8/layout/venn2"/>
    <dgm:cxn modelId="{92507765-0725-4E94-A350-241B0298720B}" type="presOf" srcId="{3B2279E0-303B-4791-B6E5-EF938FBCF9D3}" destId="{EF98A321-E4AB-4512-9218-24C416C6C191}" srcOrd="1" destOrd="0" presId="urn:microsoft.com/office/officeart/2005/8/layout/venn2"/>
    <dgm:cxn modelId="{5B793361-55A9-4E16-B68F-129984F5C09D}" srcId="{130E7702-CFFF-440A-BCE0-C76FD6DC7F03}" destId="{F7F9CCCB-928B-4607-9C0D-F3754FB6DA6B}" srcOrd="3" destOrd="0" parTransId="{6FDEE376-C82D-4F37-84FA-C8971A83ED6D}" sibTransId="{2B87F844-DA8F-45C1-B2EC-520389F90B46}"/>
    <dgm:cxn modelId="{5EB431E7-44FD-4AE2-8DF1-E31B04BC1473}" type="presOf" srcId="{9DA359BA-D786-48F4-9138-951120A5B098}" destId="{3AFCEFD2-380D-4848-B00B-6927C7BA540B}" srcOrd="1" destOrd="0" presId="urn:microsoft.com/office/officeart/2005/8/layout/venn2"/>
    <dgm:cxn modelId="{73286955-115D-4057-BF68-E255B55265A0}" type="presOf" srcId="{130E7702-CFFF-440A-BCE0-C76FD6DC7F03}" destId="{D957072F-66FF-42F7-AF49-BDB76FE77E90}" srcOrd="0" destOrd="0" presId="urn:microsoft.com/office/officeart/2005/8/layout/venn2"/>
    <dgm:cxn modelId="{4CCF91DA-9F64-4E93-9F57-43065DB50402}" type="presOf" srcId="{A4B5D2B2-F0F9-4DF6-A5EC-74202A2F9DBC}" destId="{1885CE93-9E4E-4E4E-89A9-9DD3D92825EE}" srcOrd="1" destOrd="0" presId="urn:microsoft.com/office/officeart/2005/8/layout/venn2"/>
    <dgm:cxn modelId="{5DDF0AEC-4656-48A7-BE9F-B7D7212B7B16}" srcId="{130E7702-CFFF-440A-BCE0-C76FD6DC7F03}" destId="{3B2279E0-303B-4791-B6E5-EF938FBCF9D3}" srcOrd="0" destOrd="0" parTransId="{4C06B380-C1BE-46BD-8EB0-BBE3574A2B64}" sibTransId="{1ED62ECA-CC9E-4C72-A269-A57E82712EC4}"/>
    <dgm:cxn modelId="{756C1331-C772-44A3-A2C2-9A96B480FB3A}" srcId="{130E7702-CFFF-440A-BCE0-C76FD6DC7F03}" destId="{9DA359BA-D786-48F4-9138-951120A5B098}" srcOrd="1" destOrd="0" parTransId="{DCB9BF65-24B3-414E-8CF7-81940F1F9F6B}" sibTransId="{7D4B6436-D24E-474A-9EC8-D04A700E8850}"/>
    <dgm:cxn modelId="{D6AFAA03-4EDE-450D-9B64-15F4D079E252}" type="presOf" srcId="{F7F9CCCB-928B-4607-9C0D-F3754FB6DA6B}" destId="{B7DEB214-447C-4F57-80FE-850408C5D86A}" srcOrd="0" destOrd="0" presId="urn:microsoft.com/office/officeart/2005/8/layout/venn2"/>
    <dgm:cxn modelId="{058F97E5-4015-43C7-A6BF-1053F9AA2FF6}" type="presOf" srcId="{F7F9CCCB-928B-4607-9C0D-F3754FB6DA6B}" destId="{2CD29312-D62B-4181-8CA0-518C3C093A8F}" srcOrd="1" destOrd="0" presId="urn:microsoft.com/office/officeart/2005/8/layout/venn2"/>
    <dgm:cxn modelId="{493CBCC2-F574-4BF1-B26C-879395947FCC}" srcId="{130E7702-CFFF-440A-BCE0-C76FD6DC7F03}" destId="{A4B5D2B2-F0F9-4DF6-A5EC-74202A2F9DBC}" srcOrd="2" destOrd="0" parTransId="{75F47A1B-CD7D-4F1F-A629-DCCAF7EFBEDE}" sibTransId="{85A4A524-1D45-4C00-9569-D0F4E0A0A769}"/>
    <dgm:cxn modelId="{F88D81D3-4554-46C1-9F4C-E347B0CEF3A0}" type="presOf" srcId="{3B2279E0-303B-4791-B6E5-EF938FBCF9D3}" destId="{A1756296-C542-4FE7-9314-85298BD39BAA}" srcOrd="0" destOrd="0" presId="urn:microsoft.com/office/officeart/2005/8/layout/venn2"/>
    <dgm:cxn modelId="{C46C67B4-45F1-4627-A890-9B859D432B3D}" type="presOf" srcId="{9DA359BA-D786-48F4-9138-951120A5B098}" destId="{BA170D82-FF0A-47CB-BE71-7DB123384C1A}" srcOrd="0" destOrd="0" presId="urn:microsoft.com/office/officeart/2005/8/layout/venn2"/>
    <dgm:cxn modelId="{E87686CC-05B3-4C34-9CC8-2BA1D676B67F}" type="presParOf" srcId="{D957072F-66FF-42F7-AF49-BDB76FE77E90}" destId="{CDD94E40-E200-4FDD-A957-D71414FF547E}" srcOrd="0" destOrd="0" presId="urn:microsoft.com/office/officeart/2005/8/layout/venn2"/>
    <dgm:cxn modelId="{B98281F6-1842-43B2-A480-C6734D2AFA9C}" type="presParOf" srcId="{CDD94E40-E200-4FDD-A957-D71414FF547E}" destId="{A1756296-C542-4FE7-9314-85298BD39BAA}" srcOrd="0" destOrd="0" presId="urn:microsoft.com/office/officeart/2005/8/layout/venn2"/>
    <dgm:cxn modelId="{0F79BD8E-9502-45C5-AC5A-F55EBD8B5DBC}" type="presParOf" srcId="{CDD94E40-E200-4FDD-A957-D71414FF547E}" destId="{EF98A321-E4AB-4512-9218-24C416C6C191}" srcOrd="1" destOrd="0" presId="urn:microsoft.com/office/officeart/2005/8/layout/venn2"/>
    <dgm:cxn modelId="{6AAD6E7D-A501-40AF-A685-9C9A1FA676CF}" type="presParOf" srcId="{D957072F-66FF-42F7-AF49-BDB76FE77E90}" destId="{C9986DF7-0B2D-4DEB-AE1E-8F07C139A216}" srcOrd="1" destOrd="0" presId="urn:microsoft.com/office/officeart/2005/8/layout/venn2"/>
    <dgm:cxn modelId="{1A0FBCCC-7ACB-44F2-9B48-470E415608AD}" type="presParOf" srcId="{C9986DF7-0B2D-4DEB-AE1E-8F07C139A216}" destId="{BA170D82-FF0A-47CB-BE71-7DB123384C1A}" srcOrd="0" destOrd="0" presId="urn:microsoft.com/office/officeart/2005/8/layout/venn2"/>
    <dgm:cxn modelId="{C0736530-BF03-4B5F-9700-B80B3E04C483}" type="presParOf" srcId="{C9986DF7-0B2D-4DEB-AE1E-8F07C139A216}" destId="{3AFCEFD2-380D-4848-B00B-6927C7BA540B}" srcOrd="1" destOrd="0" presId="urn:microsoft.com/office/officeart/2005/8/layout/venn2"/>
    <dgm:cxn modelId="{A89D0A53-5328-42BE-8F7B-CC93B067073E}" type="presParOf" srcId="{D957072F-66FF-42F7-AF49-BDB76FE77E90}" destId="{9BC35529-F610-483C-8B2D-3B9EF5DE5148}" srcOrd="2" destOrd="0" presId="urn:microsoft.com/office/officeart/2005/8/layout/venn2"/>
    <dgm:cxn modelId="{F6EEEFE9-5723-47E5-9914-5D3D156F3A33}" type="presParOf" srcId="{9BC35529-F610-483C-8B2D-3B9EF5DE5148}" destId="{784EB3D6-C134-4BD3-A583-A1DF7303C402}" srcOrd="0" destOrd="0" presId="urn:microsoft.com/office/officeart/2005/8/layout/venn2"/>
    <dgm:cxn modelId="{BC710C83-D501-4699-93D2-BCEA8141F613}" type="presParOf" srcId="{9BC35529-F610-483C-8B2D-3B9EF5DE5148}" destId="{1885CE93-9E4E-4E4E-89A9-9DD3D92825EE}" srcOrd="1" destOrd="0" presId="urn:microsoft.com/office/officeart/2005/8/layout/venn2"/>
    <dgm:cxn modelId="{E7D3AB1D-800D-4C8A-B99C-4B7C013DB108}" type="presParOf" srcId="{D957072F-66FF-42F7-AF49-BDB76FE77E90}" destId="{A0709F0D-B415-45E5-A38D-C7B8CF61E9A3}" srcOrd="3" destOrd="0" presId="urn:microsoft.com/office/officeart/2005/8/layout/venn2"/>
    <dgm:cxn modelId="{E95AD5CD-B325-453B-BE00-F198273213D7}" type="presParOf" srcId="{A0709F0D-B415-45E5-A38D-C7B8CF61E9A3}" destId="{B7DEB214-447C-4F57-80FE-850408C5D86A}" srcOrd="0" destOrd="0" presId="urn:microsoft.com/office/officeart/2005/8/layout/venn2"/>
    <dgm:cxn modelId="{D4DCA250-CC87-4BAD-89FA-84F1316A8E67}" type="presParOf" srcId="{A0709F0D-B415-45E5-A38D-C7B8CF61E9A3}" destId="{2CD29312-D62B-4181-8CA0-518C3C093A8F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30E7702-CFFF-440A-BCE0-C76FD6DC7F03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B2279E0-303B-4791-B6E5-EF938FBCF9D3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2.0</a:t>
          </a:r>
          <a:endParaRPr lang="en-US" sz="2800" dirty="0">
            <a:latin typeface="Calibri" panose="020F0502020204030204" pitchFamily="34" charset="0"/>
          </a:endParaRPr>
        </a:p>
      </dgm:t>
    </dgm:pt>
    <dgm:pt modelId="{4C06B380-C1BE-46BD-8EB0-BBE3574A2B64}" type="parTrans" cxnId="{5DDF0AEC-4656-48A7-BE9F-B7D7212B7B16}">
      <dgm:prSet/>
      <dgm:spPr/>
      <dgm:t>
        <a:bodyPr/>
        <a:lstStyle/>
        <a:p>
          <a:endParaRPr lang="en-US"/>
        </a:p>
      </dgm:t>
    </dgm:pt>
    <dgm:pt modelId="{1ED62ECA-CC9E-4C72-A269-A57E82712EC4}" type="sibTrans" cxnId="{5DDF0AEC-4656-48A7-BE9F-B7D7212B7B16}">
      <dgm:prSet/>
      <dgm:spPr/>
      <dgm:t>
        <a:bodyPr/>
        <a:lstStyle/>
        <a:p>
          <a:endParaRPr lang="en-US"/>
        </a:p>
      </dgm:t>
    </dgm:pt>
    <dgm:pt modelId="{9DA359BA-D786-48F4-9138-951120A5B09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2800" dirty="0" smtClean="0">
              <a:solidFill>
                <a:schemeClr val="tx1"/>
              </a:solidFill>
              <a:latin typeface="Calibri" panose="020F0502020204030204" pitchFamily="34" charset="0"/>
            </a:rPr>
            <a:t>1.2</a:t>
          </a:r>
          <a:endParaRPr lang="en-US" sz="2800" dirty="0">
            <a:solidFill>
              <a:schemeClr val="tx1"/>
            </a:solidFill>
            <a:latin typeface="Calibri" panose="020F0502020204030204" pitchFamily="34" charset="0"/>
          </a:endParaRPr>
        </a:p>
      </dgm:t>
    </dgm:pt>
    <dgm:pt modelId="{DCB9BF65-24B3-414E-8CF7-81940F1F9F6B}" type="parTrans" cxnId="{756C1331-C772-44A3-A2C2-9A96B480FB3A}">
      <dgm:prSet/>
      <dgm:spPr/>
      <dgm:t>
        <a:bodyPr/>
        <a:lstStyle/>
        <a:p>
          <a:endParaRPr lang="en-US"/>
        </a:p>
      </dgm:t>
    </dgm:pt>
    <dgm:pt modelId="{7D4B6436-D24E-474A-9EC8-D04A700E8850}" type="sibTrans" cxnId="{756C1331-C772-44A3-A2C2-9A96B480FB3A}">
      <dgm:prSet/>
      <dgm:spPr/>
      <dgm:t>
        <a:bodyPr/>
        <a:lstStyle/>
        <a:p>
          <a:endParaRPr lang="en-US"/>
        </a:p>
      </dgm:t>
    </dgm:pt>
    <dgm:pt modelId="{A4B5D2B2-F0F9-4DF6-A5EC-74202A2F9DBC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1</a:t>
          </a:r>
          <a:endParaRPr lang="en-US" sz="2800" dirty="0">
            <a:latin typeface="Calibri" panose="020F0502020204030204" pitchFamily="34" charset="0"/>
          </a:endParaRPr>
        </a:p>
      </dgm:t>
    </dgm:pt>
    <dgm:pt modelId="{75F47A1B-CD7D-4F1F-A629-DCCAF7EFBEDE}" type="parTrans" cxnId="{493CBCC2-F574-4BF1-B26C-879395947FCC}">
      <dgm:prSet/>
      <dgm:spPr/>
      <dgm:t>
        <a:bodyPr/>
        <a:lstStyle/>
        <a:p>
          <a:endParaRPr lang="en-US"/>
        </a:p>
      </dgm:t>
    </dgm:pt>
    <dgm:pt modelId="{85A4A524-1D45-4C00-9569-D0F4E0A0A769}" type="sibTrans" cxnId="{493CBCC2-F574-4BF1-B26C-879395947FCC}">
      <dgm:prSet/>
      <dgm:spPr/>
      <dgm:t>
        <a:bodyPr/>
        <a:lstStyle/>
        <a:p>
          <a:endParaRPr lang="en-US"/>
        </a:p>
      </dgm:t>
    </dgm:pt>
    <dgm:pt modelId="{F7F9CCCB-928B-4607-9C0D-F3754FB6DA6B}">
      <dgm:prSet phldrT="[Text]" custT="1"/>
      <dgm:spPr/>
      <dgm:t>
        <a:bodyPr/>
        <a:lstStyle/>
        <a:p>
          <a:r>
            <a:rPr lang="en-US" sz="2800" dirty="0" smtClean="0">
              <a:latin typeface="Calibri" panose="020F0502020204030204" pitchFamily="34" charset="0"/>
            </a:rPr>
            <a:t>1.0</a:t>
          </a:r>
          <a:endParaRPr lang="en-US" sz="2800" dirty="0">
            <a:latin typeface="Calibri" panose="020F0502020204030204" pitchFamily="34" charset="0"/>
          </a:endParaRPr>
        </a:p>
      </dgm:t>
    </dgm:pt>
    <dgm:pt modelId="{6FDEE376-C82D-4F37-84FA-C8971A83ED6D}" type="parTrans" cxnId="{5B793361-55A9-4E16-B68F-129984F5C09D}">
      <dgm:prSet/>
      <dgm:spPr/>
      <dgm:t>
        <a:bodyPr/>
        <a:lstStyle/>
        <a:p>
          <a:endParaRPr lang="en-US"/>
        </a:p>
      </dgm:t>
    </dgm:pt>
    <dgm:pt modelId="{2B87F844-DA8F-45C1-B2EC-520389F90B46}" type="sibTrans" cxnId="{5B793361-55A9-4E16-B68F-129984F5C09D}">
      <dgm:prSet/>
      <dgm:spPr/>
      <dgm:t>
        <a:bodyPr/>
        <a:lstStyle/>
        <a:p>
          <a:endParaRPr lang="en-US"/>
        </a:p>
      </dgm:t>
    </dgm:pt>
    <dgm:pt modelId="{D957072F-66FF-42F7-AF49-BDB76FE77E90}" type="pres">
      <dgm:prSet presAssocID="{130E7702-CFFF-440A-BCE0-C76FD6DC7F03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DD94E40-E200-4FDD-A957-D71414FF547E}" type="pres">
      <dgm:prSet presAssocID="{130E7702-CFFF-440A-BCE0-C76FD6DC7F03}" presName="comp1" presStyleCnt="0"/>
      <dgm:spPr/>
    </dgm:pt>
    <dgm:pt modelId="{A1756296-C542-4FE7-9314-85298BD39BAA}" type="pres">
      <dgm:prSet presAssocID="{130E7702-CFFF-440A-BCE0-C76FD6DC7F03}" presName="circle1" presStyleLbl="node1" presStyleIdx="0" presStyleCnt="4"/>
      <dgm:spPr/>
      <dgm:t>
        <a:bodyPr/>
        <a:lstStyle/>
        <a:p>
          <a:endParaRPr lang="en-US"/>
        </a:p>
      </dgm:t>
    </dgm:pt>
    <dgm:pt modelId="{EF98A321-E4AB-4512-9218-24C416C6C191}" type="pres">
      <dgm:prSet presAssocID="{130E7702-CFFF-440A-BCE0-C76FD6DC7F03}" presName="c1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986DF7-0B2D-4DEB-AE1E-8F07C139A216}" type="pres">
      <dgm:prSet presAssocID="{130E7702-CFFF-440A-BCE0-C76FD6DC7F03}" presName="comp2" presStyleCnt="0"/>
      <dgm:spPr/>
    </dgm:pt>
    <dgm:pt modelId="{BA170D82-FF0A-47CB-BE71-7DB123384C1A}" type="pres">
      <dgm:prSet presAssocID="{130E7702-CFFF-440A-BCE0-C76FD6DC7F03}" presName="circle2" presStyleLbl="node1" presStyleIdx="1" presStyleCnt="4"/>
      <dgm:spPr/>
      <dgm:t>
        <a:bodyPr/>
        <a:lstStyle/>
        <a:p>
          <a:endParaRPr lang="en-US"/>
        </a:p>
      </dgm:t>
    </dgm:pt>
    <dgm:pt modelId="{3AFCEFD2-380D-4848-B00B-6927C7BA540B}" type="pres">
      <dgm:prSet presAssocID="{130E7702-CFFF-440A-BCE0-C76FD6DC7F03}" presName="c2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C35529-F610-483C-8B2D-3B9EF5DE5148}" type="pres">
      <dgm:prSet presAssocID="{130E7702-CFFF-440A-BCE0-C76FD6DC7F03}" presName="comp3" presStyleCnt="0"/>
      <dgm:spPr/>
    </dgm:pt>
    <dgm:pt modelId="{784EB3D6-C134-4BD3-A583-A1DF7303C402}" type="pres">
      <dgm:prSet presAssocID="{130E7702-CFFF-440A-BCE0-C76FD6DC7F03}" presName="circle3" presStyleLbl="node1" presStyleIdx="2" presStyleCnt="4"/>
      <dgm:spPr/>
      <dgm:t>
        <a:bodyPr/>
        <a:lstStyle/>
        <a:p>
          <a:endParaRPr lang="en-US"/>
        </a:p>
      </dgm:t>
    </dgm:pt>
    <dgm:pt modelId="{1885CE93-9E4E-4E4E-89A9-9DD3D92825EE}" type="pres">
      <dgm:prSet presAssocID="{130E7702-CFFF-440A-BCE0-C76FD6DC7F03}" presName="c3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709F0D-B415-45E5-A38D-C7B8CF61E9A3}" type="pres">
      <dgm:prSet presAssocID="{130E7702-CFFF-440A-BCE0-C76FD6DC7F03}" presName="comp4" presStyleCnt="0"/>
      <dgm:spPr/>
    </dgm:pt>
    <dgm:pt modelId="{B7DEB214-447C-4F57-80FE-850408C5D86A}" type="pres">
      <dgm:prSet presAssocID="{130E7702-CFFF-440A-BCE0-C76FD6DC7F03}" presName="circle4" presStyleLbl="node1" presStyleIdx="3" presStyleCnt="4"/>
      <dgm:spPr/>
      <dgm:t>
        <a:bodyPr/>
        <a:lstStyle/>
        <a:p>
          <a:endParaRPr lang="en-US"/>
        </a:p>
      </dgm:t>
    </dgm:pt>
    <dgm:pt modelId="{2CD29312-D62B-4181-8CA0-518C3C093A8F}" type="pres">
      <dgm:prSet presAssocID="{130E7702-CFFF-440A-BCE0-C76FD6DC7F03}" presName="c4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CA12D0A-9E39-4408-9F5B-705E3BA7EAE6}" type="presOf" srcId="{F7F9CCCB-928B-4607-9C0D-F3754FB6DA6B}" destId="{B7DEB214-447C-4F57-80FE-850408C5D86A}" srcOrd="0" destOrd="0" presId="urn:microsoft.com/office/officeart/2005/8/layout/venn2"/>
    <dgm:cxn modelId="{5B793361-55A9-4E16-B68F-129984F5C09D}" srcId="{130E7702-CFFF-440A-BCE0-C76FD6DC7F03}" destId="{F7F9CCCB-928B-4607-9C0D-F3754FB6DA6B}" srcOrd="3" destOrd="0" parTransId="{6FDEE376-C82D-4F37-84FA-C8971A83ED6D}" sibTransId="{2B87F844-DA8F-45C1-B2EC-520389F90B46}"/>
    <dgm:cxn modelId="{4738AFED-D8BC-4880-AA64-FFC3F95AFF1A}" type="presOf" srcId="{F7F9CCCB-928B-4607-9C0D-F3754FB6DA6B}" destId="{2CD29312-D62B-4181-8CA0-518C3C093A8F}" srcOrd="1" destOrd="0" presId="urn:microsoft.com/office/officeart/2005/8/layout/venn2"/>
    <dgm:cxn modelId="{5DDF0AEC-4656-48A7-BE9F-B7D7212B7B16}" srcId="{130E7702-CFFF-440A-BCE0-C76FD6DC7F03}" destId="{3B2279E0-303B-4791-B6E5-EF938FBCF9D3}" srcOrd="0" destOrd="0" parTransId="{4C06B380-C1BE-46BD-8EB0-BBE3574A2B64}" sibTransId="{1ED62ECA-CC9E-4C72-A269-A57E82712EC4}"/>
    <dgm:cxn modelId="{334211C8-17C9-4153-AD5B-CB7638B510F8}" type="presOf" srcId="{9DA359BA-D786-48F4-9138-951120A5B098}" destId="{BA170D82-FF0A-47CB-BE71-7DB123384C1A}" srcOrd="0" destOrd="0" presId="urn:microsoft.com/office/officeart/2005/8/layout/venn2"/>
    <dgm:cxn modelId="{397D81C1-0F5C-4305-BA3D-8FB9C5A6F2A0}" type="presOf" srcId="{3B2279E0-303B-4791-B6E5-EF938FBCF9D3}" destId="{EF98A321-E4AB-4512-9218-24C416C6C191}" srcOrd="1" destOrd="0" presId="urn:microsoft.com/office/officeart/2005/8/layout/venn2"/>
    <dgm:cxn modelId="{064F2DBD-7FFE-4EA4-9EFD-8512C8F9811C}" type="presOf" srcId="{3B2279E0-303B-4791-B6E5-EF938FBCF9D3}" destId="{A1756296-C542-4FE7-9314-85298BD39BAA}" srcOrd="0" destOrd="0" presId="urn:microsoft.com/office/officeart/2005/8/layout/venn2"/>
    <dgm:cxn modelId="{756C1331-C772-44A3-A2C2-9A96B480FB3A}" srcId="{130E7702-CFFF-440A-BCE0-C76FD6DC7F03}" destId="{9DA359BA-D786-48F4-9138-951120A5B098}" srcOrd="1" destOrd="0" parTransId="{DCB9BF65-24B3-414E-8CF7-81940F1F9F6B}" sibTransId="{7D4B6436-D24E-474A-9EC8-D04A700E8850}"/>
    <dgm:cxn modelId="{E3A4581D-CB92-4BB2-B779-4EAD3E6EFB24}" type="presOf" srcId="{A4B5D2B2-F0F9-4DF6-A5EC-74202A2F9DBC}" destId="{784EB3D6-C134-4BD3-A583-A1DF7303C402}" srcOrd="0" destOrd="0" presId="urn:microsoft.com/office/officeart/2005/8/layout/venn2"/>
    <dgm:cxn modelId="{493CBCC2-F574-4BF1-B26C-879395947FCC}" srcId="{130E7702-CFFF-440A-BCE0-C76FD6DC7F03}" destId="{A4B5D2B2-F0F9-4DF6-A5EC-74202A2F9DBC}" srcOrd="2" destOrd="0" parTransId="{75F47A1B-CD7D-4F1F-A629-DCCAF7EFBEDE}" sibTransId="{85A4A524-1D45-4C00-9569-D0F4E0A0A769}"/>
    <dgm:cxn modelId="{276DBFF9-1B21-49AA-9F02-D0DECEDB3F8B}" type="presOf" srcId="{130E7702-CFFF-440A-BCE0-C76FD6DC7F03}" destId="{D957072F-66FF-42F7-AF49-BDB76FE77E90}" srcOrd="0" destOrd="0" presId="urn:microsoft.com/office/officeart/2005/8/layout/venn2"/>
    <dgm:cxn modelId="{A697D26C-0A95-46EB-B744-0B095F9C5003}" type="presOf" srcId="{9DA359BA-D786-48F4-9138-951120A5B098}" destId="{3AFCEFD2-380D-4848-B00B-6927C7BA540B}" srcOrd="1" destOrd="0" presId="urn:microsoft.com/office/officeart/2005/8/layout/venn2"/>
    <dgm:cxn modelId="{EFF7EF6F-8BE5-4876-996A-5DC190AE2C77}" type="presOf" srcId="{A4B5D2B2-F0F9-4DF6-A5EC-74202A2F9DBC}" destId="{1885CE93-9E4E-4E4E-89A9-9DD3D92825EE}" srcOrd="1" destOrd="0" presId="urn:microsoft.com/office/officeart/2005/8/layout/venn2"/>
    <dgm:cxn modelId="{4ABC5E3E-7762-42D6-AC6D-B1984D35FFFE}" type="presParOf" srcId="{D957072F-66FF-42F7-AF49-BDB76FE77E90}" destId="{CDD94E40-E200-4FDD-A957-D71414FF547E}" srcOrd="0" destOrd="0" presId="urn:microsoft.com/office/officeart/2005/8/layout/venn2"/>
    <dgm:cxn modelId="{32B7D2FE-1C98-4049-AAE9-8AD476364C7C}" type="presParOf" srcId="{CDD94E40-E200-4FDD-A957-D71414FF547E}" destId="{A1756296-C542-4FE7-9314-85298BD39BAA}" srcOrd="0" destOrd="0" presId="urn:microsoft.com/office/officeart/2005/8/layout/venn2"/>
    <dgm:cxn modelId="{167E17A8-9936-45E4-B798-5A11C076F191}" type="presParOf" srcId="{CDD94E40-E200-4FDD-A957-D71414FF547E}" destId="{EF98A321-E4AB-4512-9218-24C416C6C191}" srcOrd="1" destOrd="0" presId="urn:microsoft.com/office/officeart/2005/8/layout/venn2"/>
    <dgm:cxn modelId="{0F5F11B6-21CE-4C65-A048-99A47E707C9A}" type="presParOf" srcId="{D957072F-66FF-42F7-AF49-BDB76FE77E90}" destId="{C9986DF7-0B2D-4DEB-AE1E-8F07C139A216}" srcOrd="1" destOrd="0" presId="urn:microsoft.com/office/officeart/2005/8/layout/venn2"/>
    <dgm:cxn modelId="{6F26EF04-1ED6-49D9-9299-9B071190F1E1}" type="presParOf" srcId="{C9986DF7-0B2D-4DEB-AE1E-8F07C139A216}" destId="{BA170D82-FF0A-47CB-BE71-7DB123384C1A}" srcOrd="0" destOrd="0" presId="urn:microsoft.com/office/officeart/2005/8/layout/venn2"/>
    <dgm:cxn modelId="{9E6E0C11-9F86-46AC-8C4F-F50D0AE3CCF7}" type="presParOf" srcId="{C9986DF7-0B2D-4DEB-AE1E-8F07C139A216}" destId="{3AFCEFD2-380D-4848-B00B-6927C7BA540B}" srcOrd="1" destOrd="0" presId="urn:microsoft.com/office/officeart/2005/8/layout/venn2"/>
    <dgm:cxn modelId="{1C710F7E-E00C-4F02-9EC5-8C85A93B5EF9}" type="presParOf" srcId="{D957072F-66FF-42F7-AF49-BDB76FE77E90}" destId="{9BC35529-F610-483C-8B2D-3B9EF5DE5148}" srcOrd="2" destOrd="0" presId="urn:microsoft.com/office/officeart/2005/8/layout/venn2"/>
    <dgm:cxn modelId="{266105EA-A095-409E-B1C0-1B3A521320F1}" type="presParOf" srcId="{9BC35529-F610-483C-8B2D-3B9EF5DE5148}" destId="{784EB3D6-C134-4BD3-A583-A1DF7303C402}" srcOrd="0" destOrd="0" presId="urn:microsoft.com/office/officeart/2005/8/layout/venn2"/>
    <dgm:cxn modelId="{7DC5A05A-28BD-458F-8470-2E5F788246AE}" type="presParOf" srcId="{9BC35529-F610-483C-8B2D-3B9EF5DE5148}" destId="{1885CE93-9E4E-4E4E-89A9-9DD3D92825EE}" srcOrd="1" destOrd="0" presId="urn:microsoft.com/office/officeart/2005/8/layout/venn2"/>
    <dgm:cxn modelId="{964ADBF3-058B-4B9E-A651-F76C91C8CF6E}" type="presParOf" srcId="{D957072F-66FF-42F7-AF49-BDB76FE77E90}" destId="{A0709F0D-B415-45E5-A38D-C7B8CF61E9A3}" srcOrd="3" destOrd="0" presId="urn:microsoft.com/office/officeart/2005/8/layout/venn2"/>
    <dgm:cxn modelId="{EFD52FC6-638D-4333-8768-5239B52B69C6}" type="presParOf" srcId="{A0709F0D-B415-45E5-A38D-C7B8CF61E9A3}" destId="{B7DEB214-447C-4F57-80FE-850408C5D86A}" srcOrd="0" destOrd="0" presId="urn:microsoft.com/office/officeart/2005/8/layout/venn2"/>
    <dgm:cxn modelId="{3989D4E3-C862-49E1-AA22-6A092086921C}" type="presParOf" srcId="{A0709F0D-B415-45E5-A38D-C7B8CF61E9A3}" destId="{2CD29312-D62B-4181-8CA0-518C3C093A8F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2099E9B-1E52-4C98-98BB-D8DDBFC2E3CC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2F4F0-FA57-4630-A170-F45E47111AE5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4F3B6F64-86D7-45DD-8222-9BC9181590DA}" type="parTrans" cxnId="{60037F3B-4C46-4B06-BDDC-A0F38897088E}">
      <dgm:prSet/>
      <dgm:spPr/>
      <dgm:t>
        <a:bodyPr/>
        <a:lstStyle/>
        <a:p>
          <a:endParaRPr lang="en-US"/>
        </a:p>
      </dgm:t>
    </dgm:pt>
    <dgm:pt modelId="{DACB33DA-D437-40FA-8F81-A6DC24446239}" type="sibTrans" cxnId="{60037F3B-4C46-4B06-BDDC-A0F38897088E}">
      <dgm:prSet/>
      <dgm:spPr/>
      <dgm:t>
        <a:bodyPr/>
        <a:lstStyle/>
        <a:p>
          <a:endParaRPr lang="en-US"/>
        </a:p>
      </dgm:t>
    </dgm:pt>
    <dgm:pt modelId="{C56C6945-EA24-4CD1-8F72-DAAF8A75ACAA}">
      <dgm:prSet phldrT="[Text]"/>
      <dgm:spPr/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C7F45AB2-E0F4-4580-B969-35CC39780352}" type="parTrans" cxnId="{EE63CED3-EA74-44C5-AC3F-8729839E3715}">
      <dgm:prSet/>
      <dgm:spPr/>
      <dgm:t>
        <a:bodyPr/>
        <a:lstStyle/>
        <a:p>
          <a:endParaRPr lang="en-US"/>
        </a:p>
      </dgm:t>
    </dgm:pt>
    <dgm:pt modelId="{BBA272A5-D96A-4F73-BE48-B7D0D1E8DD4F}" type="sibTrans" cxnId="{EE63CED3-EA74-44C5-AC3F-8729839E3715}">
      <dgm:prSet/>
      <dgm:spPr/>
      <dgm:t>
        <a:bodyPr/>
        <a:lstStyle/>
        <a:p>
          <a:endParaRPr lang="en-US"/>
        </a:p>
      </dgm:t>
    </dgm:pt>
    <dgm:pt modelId="{79343CCA-3B0C-44B8-A00B-EEACC0A0791B}">
      <dgm:prSet phldrT="[Text]"/>
      <dgm:spPr/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5EBE46C5-3707-46DA-8C9B-B3C7DE98E969}" type="parTrans" cxnId="{93CEBE4C-9819-47AE-AEBD-F00F9D8587C5}">
      <dgm:prSet/>
      <dgm:spPr/>
      <dgm:t>
        <a:bodyPr/>
        <a:lstStyle/>
        <a:p>
          <a:endParaRPr lang="en-US"/>
        </a:p>
      </dgm:t>
    </dgm:pt>
    <dgm:pt modelId="{54733E06-511B-4931-AF6A-4A152CEF426A}" type="sibTrans" cxnId="{93CEBE4C-9819-47AE-AEBD-F00F9D8587C5}">
      <dgm:prSet/>
      <dgm:spPr/>
      <dgm:t>
        <a:bodyPr/>
        <a:lstStyle/>
        <a:p>
          <a:endParaRPr lang="en-US"/>
        </a:p>
      </dgm:t>
    </dgm:pt>
    <dgm:pt modelId="{EB0C611B-39C7-4FE9-B3CC-29328D2AF277}">
      <dgm:prSet phldrT="[Text]"/>
      <dgm:spPr/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7C448212-F52A-45AA-BE67-C6C57C5369AC}" type="parTrans" cxnId="{90D0C109-8E67-434A-A2B6-3723EA50A1CC}">
      <dgm:prSet/>
      <dgm:spPr/>
      <dgm:t>
        <a:bodyPr/>
        <a:lstStyle/>
        <a:p>
          <a:endParaRPr lang="en-US"/>
        </a:p>
      </dgm:t>
    </dgm:pt>
    <dgm:pt modelId="{48DCC8A4-CB7C-4C62-9661-2872A3F37B47}" type="sibTrans" cxnId="{90D0C109-8E67-434A-A2B6-3723EA50A1CC}">
      <dgm:prSet/>
      <dgm:spPr/>
      <dgm:t>
        <a:bodyPr/>
        <a:lstStyle/>
        <a:p>
          <a:endParaRPr lang="en-US"/>
        </a:p>
      </dgm:t>
    </dgm:pt>
    <dgm:pt modelId="{7066790E-74B1-4B17-BE51-BFA909A84E04}">
      <dgm:prSet phldrT="[Text]"/>
      <dgm:spPr/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5BFF7F85-E387-43FA-83C8-186C725CC28D}" type="parTrans" cxnId="{5BBE4EFF-8DE2-410A-94CD-730C8ADA2387}">
      <dgm:prSet/>
      <dgm:spPr/>
      <dgm:t>
        <a:bodyPr/>
        <a:lstStyle/>
        <a:p>
          <a:endParaRPr lang="en-US"/>
        </a:p>
      </dgm:t>
    </dgm:pt>
    <dgm:pt modelId="{DBAA3649-6629-4780-BE93-3F2678E19DD2}" type="sibTrans" cxnId="{5BBE4EFF-8DE2-410A-94CD-730C8ADA2387}">
      <dgm:prSet/>
      <dgm:spPr/>
      <dgm:t>
        <a:bodyPr/>
        <a:lstStyle/>
        <a:p>
          <a:endParaRPr lang="en-US"/>
        </a:p>
      </dgm:t>
    </dgm:pt>
    <dgm:pt modelId="{74912DDC-3E70-4933-9934-9F8F98732229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4C939804-8E20-4B6E-BA28-97899AA790D3}" type="parTrans" cxnId="{6A94B023-840E-4E7A-8D63-79E67ED04D51}">
      <dgm:prSet/>
      <dgm:spPr/>
      <dgm:t>
        <a:bodyPr/>
        <a:lstStyle/>
        <a:p>
          <a:endParaRPr lang="en-US"/>
        </a:p>
      </dgm:t>
    </dgm:pt>
    <dgm:pt modelId="{DF8A2429-1B3A-44BF-8ED1-6D4A24FFC982}" type="sibTrans" cxnId="{6A94B023-840E-4E7A-8D63-79E67ED04D51}">
      <dgm:prSet/>
      <dgm:spPr/>
      <dgm:t>
        <a:bodyPr/>
        <a:lstStyle/>
        <a:p>
          <a:endParaRPr lang="en-US"/>
        </a:p>
      </dgm:t>
    </dgm:pt>
    <dgm:pt modelId="{186DC85C-9962-45A2-813F-D434CAFAF263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F569EDE3-70EA-4137-93A1-0B30535FEAA3}" type="parTrans" cxnId="{46A23D6F-B0EF-4DDF-B54F-89E8283EEA76}">
      <dgm:prSet/>
      <dgm:spPr/>
      <dgm:t>
        <a:bodyPr/>
        <a:lstStyle/>
        <a:p>
          <a:endParaRPr lang="en-US"/>
        </a:p>
      </dgm:t>
    </dgm:pt>
    <dgm:pt modelId="{9A706050-6B2F-4C69-8970-454E684B88B6}" type="sibTrans" cxnId="{46A23D6F-B0EF-4DDF-B54F-89E8283EEA76}">
      <dgm:prSet/>
      <dgm:spPr/>
      <dgm:t>
        <a:bodyPr/>
        <a:lstStyle/>
        <a:p>
          <a:endParaRPr lang="en-US"/>
        </a:p>
      </dgm:t>
    </dgm:pt>
    <dgm:pt modelId="{AEB0912E-57E7-42FA-97F9-72F074FB1189}">
      <dgm:prSet phldrT="[Text]"/>
      <dgm:spPr/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8609929E-7489-4409-9C4F-5A444057A802}" type="parTrans" cxnId="{2C52910E-C86A-4C15-BF44-0E056793AAFD}">
      <dgm:prSet/>
      <dgm:spPr/>
      <dgm:t>
        <a:bodyPr/>
        <a:lstStyle/>
        <a:p>
          <a:endParaRPr lang="en-US"/>
        </a:p>
      </dgm:t>
    </dgm:pt>
    <dgm:pt modelId="{BCDE2266-3B5E-45C8-9E7D-3C69BD2098DF}" type="sibTrans" cxnId="{2C52910E-C86A-4C15-BF44-0E056793AAFD}">
      <dgm:prSet/>
      <dgm:spPr/>
      <dgm:t>
        <a:bodyPr/>
        <a:lstStyle/>
        <a:p>
          <a:endParaRPr lang="en-US"/>
        </a:p>
      </dgm:t>
    </dgm:pt>
    <dgm:pt modelId="{DB5905AB-2183-41E2-A0D5-01064A9368F3}">
      <dgm:prSet phldrT="[Text]"/>
      <dgm:spPr/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770522C0-2A52-4DF7-90F1-C4F3EB7E3B21}" type="parTrans" cxnId="{CDB18395-27E2-408C-80B9-9DCA7D1F34DD}">
      <dgm:prSet/>
      <dgm:spPr/>
      <dgm:t>
        <a:bodyPr/>
        <a:lstStyle/>
        <a:p>
          <a:endParaRPr lang="en-US"/>
        </a:p>
      </dgm:t>
    </dgm:pt>
    <dgm:pt modelId="{0887B4A9-912E-4154-8E1E-2AB9B74308E9}" type="sibTrans" cxnId="{CDB18395-27E2-408C-80B9-9DCA7D1F34DD}">
      <dgm:prSet/>
      <dgm:spPr/>
      <dgm:t>
        <a:bodyPr/>
        <a:lstStyle/>
        <a:p>
          <a:endParaRPr lang="en-US"/>
        </a:p>
      </dgm:t>
    </dgm:pt>
    <dgm:pt modelId="{81A12C5D-7233-4662-9D34-73097E08723A}" type="pres">
      <dgm:prSet presAssocID="{E2099E9B-1E52-4C98-98BB-D8DDBFC2E3CC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84DF19FB-83D1-4297-B7E7-77083E480073}" type="pres">
      <dgm:prSet presAssocID="{1192F4F0-FA57-4630-A170-F45E47111AE5}" presName="compNode" presStyleCnt="0"/>
      <dgm:spPr/>
    </dgm:pt>
    <dgm:pt modelId="{6B0F0C82-9D76-4386-869D-959A4409867B}" type="pres">
      <dgm:prSet presAssocID="{1192F4F0-FA57-4630-A170-F45E47111AE5}" presName="dummyConnPt" presStyleCnt="0"/>
      <dgm:spPr/>
    </dgm:pt>
    <dgm:pt modelId="{4D7EA76F-C064-49EF-8AFC-3868360AEF07}" type="pres">
      <dgm:prSet presAssocID="{1192F4F0-FA57-4630-A170-F45E47111AE5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10AE8D-B624-4066-913D-82A0512003C4}" type="pres">
      <dgm:prSet presAssocID="{DACB33DA-D437-40FA-8F81-A6DC24446239}" presName="sibTrans" presStyleLbl="bgSibTrans2D1" presStyleIdx="0" presStyleCnt="8"/>
      <dgm:spPr/>
      <dgm:t>
        <a:bodyPr/>
        <a:lstStyle/>
        <a:p>
          <a:endParaRPr lang="en-US"/>
        </a:p>
      </dgm:t>
    </dgm:pt>
    <dgm:pt modelId="{9893B425-7AF2-44EA-83BB-9011327D6914}" type="pres">
      <dgm:prSet presAssocID="{C56C6945-EA24-4CD1-8F72-DAAF8A75ACAA}" presName="compNode" presStyleCnt="0"/>
      <dgm:spPr/>
    </dgm:pt>
    <dgm:pt modelId="{0ED3F607-915A-43D2-BDAF-D3329453ECEB}" type="pres">
      <dgm:prSet presAssocID="{C56C6945-EA24-4CD1-8F72-DAAF8A75ACAA}" presName="dummyConnPt" presStyleCnt="0"/>
      <dgm:spPr/>
    </dgm:pt>
    <dgm:pt modelId="{5762BA36-EFA9-4BDE-9928-25D18B8EC4E4}" type="pres">
      <dgm:prSet presAssocID="{C56C6945-EA24-4CD1-8F72-DAAF8A75ACA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F0D9CA-2937-4993-BB71-5020A492A06A}" type="pres">
      <dgm:prSet presAssocID="{BBA272A5-D96A-4F73-BE48-B7D0D1E8DD4F}" presName="sibTrans" presStyleLbl="bgSibTrans2D1" presStyleIdx="1" presStyleCnt="8"/>
      <dgm:spPr/>
      <dgm:t>
        <a:bodyPr/>
        <a:lstStyle/>
        <a:p>
          <a:endParaRPr lang="en-US"/>
        </a:p>
      </dgm:t>
    </dgm:pt>
    <dgm:pt modelId="{366B7D48-6607-464B-8EEF-C527ED82FE9F}" type="pres">
      <dgm:prSet presAssocID="{79343CCA-3B0C-44B8-A00B-EEACC0A0791B}" presName="compNode" presStyleCnt="0"/>
      <dgm:spPr/>
    </dgm:pt>
    <dgm:pt modelId="{970CEB34-F719-472B-B590-F19FBFAF5BEE}" type="pres">
      <dgm:prSet presAssocID="{79343CCA-3B0C-44B8-A00B-EEACC0A0791B}" presName="dummyConnPt" presStyleCnt="0"/>
      <dgm:spPr/>
    </dgm:pt>
    <dgm:pt modelId="{DFE929F3-F1EB-4E33-B6DC-D616C690BB18}" type="pres">
      <dgm:prSet presAssocID="{79343CCA-3B0C-44B8-A00B-EEACC0A0791B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E35F0C-4E28-456A-A879-9552EF557560}" type="pres">
      <dgm:prSet presAssocID="{54733E06-511B-4931-AF6A-4A152CEF426A}" presName="sibTrans" presStyleLbl="bgSibTrans2D1" presStyleIdx="2" presStyleCnt="8"/>
      <dgm:spPr/>
      <dgm:t>
        <a:bodyPr/>
        <a:lstStyle/>
        <a:p>
          <a:endParaRPr lang="en-US"/>
        </a:p>
      </dgm:t>
    </dgm:pt>
    <dgm:pt modelId="{B9D26EF1-B305-46E2-9F3C-F58C81868C34}" type="pres">
      <dgm:prSet presAssocID="{EB0C611B-39C7-4FE9-B3CC-29328D2AF277}" presName="compNode" presStyleCnt="0"/>
      <dgm:spPr/>
    </dgm:pt>
    <dgm:pt modelId="{5F3BBC51-583E-4024-B235-625C83901186}" type="pres">
      <dgm:prSet presAssocID="{EB0C611B-39C7-4FE9-B3CC-29328D2AF277}" presName="dummyConnPt" presStyleCnt="0"/>
      <dgm:spPr/>
    </dgm:pt>
    <dgm:pt modelId="{308492C1-4849-45F3-9E2F-9AD196C43577}" type="pres">
      <dgm:prSet presAssocID="{EB0C611B-39C7-4FE9-B3CC-29328D2AF277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43EFD1-D253-48D5-95D9-A694A849D7DB}" type="pres">
      <dgm:prSet presAssocID="{48DCC8A4-CB7C-4C62-9661-2872A3F37B47}" presName="sibTrans" presStyleLbl="bgSibTrans2D1" presStyleIdx="3" presStyleCnt="8"/>
      <dgm:spPr/>
      <dgm:t>
        <a:bodyPr/>
        <a:lstStyle/>
        <a:p>
          <a:endParaRPr lang="en-US"/>
        </a:p>
      </dgm:t>
    </dgm:pt>
    <dgm:pt modelId="{88412258-B6CC-4DC0-9A8C-930810D901C3}" type="pres">
      <dgm:prSet presAssocID="{7066790E-74B1-4B17-BE51-BFA909A84E04}" presName="compNode" presStyleCnt="0"/>
      <dgm:spPr/>
    </dgm:pt>
    <dgm:pt modelId="{475C730D-9249-4EEE-80E2-60E51527D340}" type="pres">
      <dgm:prSet presAssocID="{7066790E-74B1-4B17-BE51-BFA909A84E04}" presName="dummyConnPt" presStyleCnt="0"/>
      <dgm:spPr/>
    </dgm:pt>
    <dgm:pt modelId="{1ADF6FF1-015F-4E57-9A44-229AB15BB891}" type="pres">
      <dgm:prSet presAssocID="{7066790E-74B1-4B17-BE51-BFA909A84E04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1353A4-ED70-4ACD-A43B-15BE7DF74A15}" type="pres">
      <dgm:prSet presAssocID="{DBAA3649-6629-4780-BE93-3F2678E19DD2}" presName="sibTrans" presStyleLbl="bgSibTrans2D1" presStyleIdx="4" presStyleCnt="8"/>
      <dgm:spPr/>
      <dgm:t>
        <a:bodyPr/>
        <a:lstStyle/>
        <a:p>
          <a:endParaRPr lang="en-US"/>
        </a:p>
      </dgm:t>
    </dgm:pt>
    <dgm:pt modelId="{280B9175-CB74-4213-8E5A-896A777A98E8}" type="pres">
      <dgm:prSet presAssocID="{74912DDC-3E70-4933-9934-9F8F98732229}" presName="compNode" presStyleCnt="0"/>
      <dgm:spPr/>
    </dgm:pt>
    <dgm:pt modelId="{26F1345C-9ED7-41DF-9D20-487432D40662}" type="pres">
      <dgm:prSet presAssocID="{74912DDC-3E70-4933-9934-9F8F98732229}" presName="dummyConnPt" presStyleCnt="0"/>
      <dgm:spPr/>
    </dgm:pt>
    <dgm:pt modelId="{1AB70730-DE4F-45BF-AC19-3E8ACDC3FCF7}" type="pres">
      <dgm:prSet presAssocID="{74912DDC-3E70-4933-9934-9F8F98732229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39C1DA-0423-4F1A-B878-74279D89C51A}" type="pres">
      <dgm:prSet presAssocID="{DF8A2429-1B3A-44BF-8ED1-6D4A24FFC982}" presName="sibTrans" presStyleLbl="bgSibTrans2D1" presStyleIdx="5" presStyleCnt="8"/>
      <dgm:spPr/>
      <dgm:t>
        <a:bodyPr/>
        <a:lstStyle/>
        <a:p>
          <a:endParaRPr lang="en-US"/>
        </a:p>
      </dgm:t>
    </dgm:pt>
    <dgm:pt modelId="{54000CC0-48B7-46AA-920D-D19E4E40E878}" type="pres">
      <dgm:prSet presAssocID="{186DC85C-9962-45A2-813F-D434CAFAF263}" presName="compNode" presStyleCnt="0"/>
      <dgm:spPr/>
    </dgm:pt>
    <dgm:pt modelId="{4DFE7203-6C1C-4FCF-9BA8-7E457641868C}" type="pres">
      <dgm:prSet presAssocID="{186DC85C-9962-45A2-813F-D434CAFAF263}" presName="dummyConnPt" presStyleCnt="0"/>
      <dgm:spPr/>
    </dgm:pt>
    <dgm:pt modelId="{2F16D533-F0F7-4D6C-A8F6-6B7A08066E20}" type="pres">
      <dgm:prSet presAssocID="{186DC85C-9962-45A2-813F-D434CAFAF263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F1686F-0707-456D-9F7D-F7239970FA29}" type="pres">
      <dgm:prSet presAssocID="{9A706050-6B2F-4C69-8970-454E684B88B6}" presName="sibTrans" presStyleLbl="bgSibTrans2D1" presStyleIdx="6" presStyleCnt="8"/>
      <dgm:spPr/>
      <dgm:t>
        <a:bodyPr/>
        <a:lstStyle/>
        <a:p>
          <a:endParaRPr lang="en-US"/>
        </a:p>
      </dgm:t>
    </dgm:pt>
    <dgm:pt modelId="{56BB8644-71E1-4329-A32C-0D4E9C72ED7D}" type="pres">
      <dgm:prSet presAssocID="{AEB0912E-57E7-42FA-97F9-72F074FB1189}" presName="compNode" presStyleCnt="0"/>
      <dgm:spPr/>
    </dgm:pt>
    <dgm:pt modelId="{34291B4D-8C18-48AA-835E-D2AE56EFA013}" type="pres">
      <dgm:prSet presAssocID="{AEB0912E-57E7-42FA-97F9-72F074FB1189}" presName="dummyConnPt" presStyleCnt="0"/>
      <dgm:spPr/>
    </dgm:pt>
    <dgm:pt modelId="{8007E9BB-788C-44B4-B2D9-149C2CE7002B}" type="pres">
      <dgm:prSet presAssocID="{AEB0912E-57E7-42FA-97F9-72F074FB1189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0366A-F553-4618-9355-E0DA9DF954A2}" type="pres">
      <dgm:prSet presAssocID="{BCDE2266-3B5E-45C8-9E7D-3C69BD2098DF}" presName="sibTrans" presStyleLbl="bgSibTrans2D1" presStyleIdx="7" presStyleCnt="8"/>
      <dgm:spPr/>
      <dgm:t>
        <a:bodyPr/>
        <a:lstStyle/>
        <a:p>
          <a:endParaRPr lang="en-US"/>
        </a:p>
      </dgm:t>
    </dgm:pt>
    <dgm:pt modelId="{E520604D-F27F-4F77-9FA0-17BF9C3E635F}" type="pres">
      <dgm:prSet presAssocID="{DB5905AB-2183-41E2-A0D5-01064A9368F3}" presName="compNode" presStyleCnt="0"/>
      <dgm:spPr/>
    </dgm:pt>
    <dgm:pt modelId="{EBDDAF38-69BE-4459-86A1-E8F9E2E2ECA9}" type="pres">
      <dgm:prSet presAssocID="{DB5905AB-2183-41E2-A0D5-01064A9368F3}" presName="dummyConnPt" presStyleCnt="0"/>
      <dgm:spPr/>
    </dgm:pt>
    <dgm:pt modelId="{CBB78A34-261D-4A3F-B529-F72E5BF01D05}" type="pres">
      <dgm:prSet presAssocID="{DB5905AB-2183-41E2-A0D5-01064A9368F3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B79E910-A8F3-485A-864E-4FB8C884581C}" type="presOf" srcId="{74912DDC-3E70-4933-9934-9F8F98732229}" destId="{1AB70730-DE4F-45BF-AC19-3E8ACDC3FCF7}" srcOrd="0" destOrd="0" presId="urn:microsoft.com/office/officeart/2005/8/layout/bProcess4"/>
    <dgm:cxn modelId="{ADBBC229-96F9-405A-B49F-45E749F52DD3}" type="presOf" srcId="{E2099E9B-1E52-4C98-98BB-D8DDBFC2E3CC}" destId="{81A12C5D-7233-4662-9D34-73097E08723A}" srcOrd="0" destOrd="0" presId="urn:microsoft.com/office/officeart/2005/8/layout/bProcess4"/>
    <dgm:cxn modelId="{FD445E7B-56EC-4E56-9A9F-61579487476E}" type="presOf" srcId="{9A706050-6B2F-4C69-8970-454E684B88B6}" destId="{A8F1686F-0707-456D-9F7D-F7239970FA29}" srcOrd="0" destOrd="0" presId="urn:microsoft.com/office/officeart/2005/8/layout/bProcess4"/>
    <dgm:cxn modelId="{5BBE4EFF-8DE2-410A-94CD-730C8ADA2387}" srcId="{E2099E9B-1E52-4C98-98BB-D8DDBFC2E3CC}" destId="{7066790E-74B1-4B17-BE51-BFA909A84E04}" srcOrd="4" destOrd="0" parTransId="{5BFF7F85-E387-43FA-83C8-186C725CC28D}" sibTransId="{DBAA3649-6629-4780-BE93-3F2678E19DD2}"/>
    <dgm:cxn modelId="{232656EE-3DEC-4FFD-9C16-795AE5A1DCB8}" type="presOf" srcId="{54733E06-511B-4931-AF6A-4A152CEF426A}" destId="{ABE35F0C-4E28-456A-A879-9552EF557560}" srcOrd="0" destOrd="0" presId="urn:microsoft.com/office/officeart/2005/8/layout/bProcess4"/>
    <dgm:cxn modelId="{545DFD61-553F-4CAE-8F78-90426B6F1EB0}" type="presOf" srcId="{DBAA3649-6629-4780-BE93-3F2678E19DD2}" destId="{151353A4-ED70-4ACD-A43B-15BE7DF74A15}" srcOrd="0" destOrd="0" presId="urn:microsoft.com/office/officeart/2005/8/layout/bProcess4"/>
    <dgm:cxn modelId="{F17EE81D-FB79-4F20-AC9F-F29D7A265FD6}" type="presOf" srcId="{BCDE2266-3B5E-45C8-9E7D-3C69BD2098DF}" destId="{5D90366A-F553-4618-9355-E0DA9DF954A2}" srcOrd="0" destOrd="0" presId="urn:microsoft.com/office/officeart/2005/8/layout/bProcess4"/>
    <dgm:cxn modelId="{21971CBB-77CF-487B-A8D4-D3678A89390C}" type="presOf" srcId="{DF8A2429-1B3A-44BF-8ED1-6D4A24FFC982}" destId="{7D39C1DA-0423-4F1A-B878-74279D89C51A}" srcOrd="0" destOrd="0" presId="urn:microsoft.com/office/officeart/2005/8/layout/bProcess4"/>
    <dgm:cxn modelId="{2780EE04-CE11-417D-90A8-5D26E38FE2D6}" type="presOf" srcId="{1192F4F0-FA57-4630-A170-F45E47111AE5}" destId="{4D7EA76F-C064-49EF-8AFC-3868360AEF07}" srcOrd="0" destOrd="0" presId="urn:microsoft.com/office/officeart/2005/8/layout/bProcess4"/>
    <dgm:cxn modelId="{6A94B023-840E-4E7A-8D63-79E67ED04D51}" srcId="{E2099E9B-1E52-4C98-98BB-D8DDBFC2E3CC}" destId="{74912DDC-3E70-4933-9934-9F8F98732229}" srcOrd="5" destOrd="0" parTransId="{4C939804-8E20-4B6E-BA28-97899AA790D3}" sibTransId="{DF8A2429-1B3A-44BF-8ED1-6D4A24FFC982}"/>
    <dgm:cxn modelId="{A33D8172-BED1-48BD-9CBD-068D46A41215}" type="presOf" srcId="{C56C6945-EA24-4CD1-8F72-DAAF8A75ACAA}" destId="{5762BA36-EFA9-4BDE-9928-25D18B8EC4E4}" srcOrd="0" destOrd="0" presId="urn:microsoft.com/office/officeart/2005/8/layout/bProcess4"/>
    <dgm:cxn modelId="{93C4C481-267E-492C-9B65-30156D671641}" type="presOf" srcId="{79343CCA-3B0C-44B8-A00B-EEACC0A0791B}" destId="{DFE929F3-F1EB-4E33-B6DC-D616C690BB18}" srcOrd="0" destOrd="0" presId="urn:microsoft.com/office/officeart/2005/8/layout/bProcess4"/>
    <dgm:cxn modelId="{B6027CD5-305B-43AC-91CD-8E5352577C1A}" type="presOf" srcId="{7066790E-74B1-4B17-BE51-BFA909A84E04}" destId="{1ADF6FF1-015F-4E57-9A44-229AB15BB891}" srcOrd="0" destOrd="0" presId="urn:microsoft.com/office/officeart/2005/8/layout/bProcess4"/>
    <dgm:cxn modelId="{37C9C1B3-9BAE-44FE-B5E1-4A2325EF7129}" type="presOf" srcId="{DB5905AB-2183-41E2-A0D5-01064A9368F3}" destId="{CBB78A34-261D-4A3F-B529-F72E5BF01D05}" srcOrd="0" destOrd="0" presId="urn:microsoft.com/office/officeart/2005/8/layout/bProcess4"/>
    <dgm:cxn modelId="{EE63CED3-EA74-44C5-AC3F-8729839E3715}" srcId="{E2099E9B-1E52-4C98-98BB-D8DDBFC2E3CC}" destId="{C56C6945-EA24-4CD1-8F72-DAAF8A75ACAA}" srcOrd="1" destOrd="0" parTransId="{C7F45AB2-E0F4-4580-B969-35CC39780352}" sibTransId="{BBA272A5-D96A-4F73-BE48-B7D0D1E8DD4F}"/>
    <dgm:cxn modelId="{80BD4A88-2910-4475-82C9-28C11C30E6AC}" type="presOf" srcId="{DACB33DA-D437-40FA-8F81-A6DC24446239}" destId="{C910AE8D-B624-4066-913D-82A0512003C4}" srcOrd="0" destOrd="0" presId="urn:microsoft.com/office/officeart/2005/8/layout/bProcess4"/>
    <dgm:cxn modelId="{90D0C109-8E67-434A-A2B6-3723EA50A1CC}" srcId="{E2099E9B-1E52-4C98-98BB-D8DDBFC2E3CC}" destId="{EB0C611B-39C7-4FE9-B3CC-29328D2AF277}" srcOrd="3" destOrd="0" parTransId="{7C448212-F52A-45AA-BE67-C6C57C5369AC}" sibTransId="{48DCC8A4-CB7C-4C62-9661-2872A3F37B47}"/>
    <dgm:cxn modelId="{D4BB993D-4323-4F9F-A6AD-8A943366DE07}" type="presOf" srcId="{AEB0912E-57E7-42FA-97F9-72F074FB1189}" destId="{8007E9BB-788C-44B4-B2D9-149C2CE7002B}" srcOrd="0" destOrd="0" presId="urn:microsoft.com/office/officeart/2005/8/layout/bProcess4"/>
    <dgm:cxn modelId="{D38956FF-B3C1-4CF8-A5CE-1AEB6E87147F}" type="presOf" srcId="{48DCC8A4-CB7C-4C62-9661-2872A3F37B47}" destId="{2943EFD1-D253-48D5-95D9-A694A849D7DB}" srcOrd="0" destOrd="0" presId="urn:microsoft.com/office/officeart/2005/8/layout/bProcess4"/>
    <dgm:cxn modelId="{8522D620-C74D-4942-85E9-9065D41E105E}" type="presOf" srcId="{BBA272A5-D96A-4F73-BE48-B7D0D1E8DD4F}" destId="{DEF0D9CA-2937-4993-BB71-5020A492A06A}" srcOrd="0" destOrd="0" presId="urn:microsoft.com/office/officeart/2005/8/layout/bProcess4"/>
    <dgm:cxn modelId="{1E962273-80EC-4E7C-AD9F-C7157CB94918}" type="presOf" srcId="{EB0C611B-39C7-4FE9-B3CC-29328D2AF277}" destId="{308492C1-4849-45F3-9E2F-9AD196C43577}" srcOrd="0" destOrd="0" presId="urn:microsoft.com/office/officeart/2005/8/layout/bProcess4"/>
    <dgm:cxn modelId="{CDB18395-27E2-408C-80B9-9DCA7D1F34DD}" srcId="{E2099E9B-1E52-4C98-98BB-D8DDBFC2E3CC}" destId="{DB5905AB-2183-41E2-A0D5-01064A9368F3}" srcOrd="8" destOrd="0" parTransId="{770522C0-2A52-4DF7-90F1-C4F3EB7E3B21}" sibTransId="{0887B4A9-912E-4154-8E1E-2AB9B74308E9}"/>
    <dgm:cxn modelId="{93CEBE4C-9819-47AE-AEBD-F00F9D8587C5}" srcId="{E2099E9B-1E52-4C98-98BB-D8DDBFC2E3CC}" destId="{79343CCA-3B0C-44B8-A00B-EEACC0A0791B}" srcOrd="2" destOrd="0" parTransId="{5EBE46C5-3707-46DA-8C9B-B3C7DE98E969}" sibTransId="{54733E06-511B-4931-AF6A-4A152CEF426A}"/>
    <dgm:cxn modelId="{46A23D6F-B0EF-4DDF-B54F-89E8283EEA76}" srcId="{E2099E9B-1E52-4C98-98BB-D8DDBFC2E3CC}" destId="{186DC85C-9962-45A2-813F-D434CAFAF263}" srcOrd="6" destOrd="0" parTransId="{F569EDE3-70EA-4137-93A1-0B30535FEAA3}" sibTransId="{9A706050-6B2F-4C69-8970-454E684B88B6}"/>
    <dgm:cxn modelId="{2C52910E-C86A-4C15-BF44-0E056793AAFD}" srcId="{E2099E9B-1E52-4C98-98BB-D8DDBFC2E3CC}" destId="{AEB0912E-57E7-42FA-97F9-72F074FB1189}" srcOrd="7" destOrd="0" parTransId="{8609929E-7489-4409-9C4F-5A444057A802}" sibTransId="{BCDE2266-3B5E-45C8-9E7D-3C69BD2098DF}"/>
    <dgm:cxn modelId="{706637C5-8BA8-44D6-92DC-A1EAA5A29E01}" type="presOf" srcId="{186DC85C-9962-45A2-813F-D434CAFAF263}" destId="{2F16D533-F0F7-4D6C-A8F6-6B7A08066E20}" srcOrd="0" destOrd="0" presId="urn:microsoft.com/office/officeart/2005/8/layout/bProcess4"/>
    <dgm:cxn modelId="{60037F3B-4C46-4B06-BDDC-A0F38897088E}" srcId="{E2099E9B-1E52-4C98-98BB-D8DDBFC2E3CC}" destId="{1192F4F0-FA57-4630-A170-F45E47111AE5}" srcOrd="0" destOrd="0" parTransId="{4F3B6F64-86D7-45DD-8222-9BC9181590DA}" sibTransId="{DACB33DA-D437-40FA-8F81-A6DC24446239}"/>
    <dgm:cxn modelId="{6E763DB3-B8F7-4575-BD38-B0BFF0B08C42}" type="presParOf" srcId="{81A12C5D-7233-4662-9D34-73097E08723A}" destId="{84DF19FB-83D1-4297-B7E7-77083E480073}" srcOrd="0" destOrd="0" presId="urn:microsoft.com/office/officeart/2005/8/layout/bProcess4"/>
    <dgm:cxn modelId="{07285C44-31DF-46F2-9DEE-6811C24FE37B}" type="presParOf" srcId="{84DF19FB-83D1-4297-B7E7-77083E480073}" destId="{6B0F0C82-9D76-4386-869D-959A4409867B}" srcOrd="0" destOrd="0" presId="urn:microsoft.com/office/officeart/2005/8/layout/bProcess4"/>
    <dgm:cxn modelId="{B161AFF7-DEC1-450A-A4F1-ECE1DCC9B57B}" type="presParOf" srcId="{84DF19FB-83D1-4297-B7E7-77083E480073}" destId="{4D7EA76F-C064-49EF-8AFC-3868360AEF07}" srcOrd="1" destOrd="0" presId="urn:microsoft.com/office/officeart/2005/8/layout/bProcess4"/>
    <dgm:cxn modelId="{8D0C20B9-21F2-49DF-AA6F-A42201324C9F}" type="presParOf" srcId="{81A12C5D-7233-4662-9D34-73097E08723A}" destId="{C910AE8D-B624-4066-913D-82A0512003C4}" srcOrd="1" destOrd="0" presId="urn:microsoft.com/office/officeart/2005/8/layout/bProcess4"/>
    <dgm:cxn modelId="{DB376E5B-437F-475A-8600-021B7D487006}" type="presParOf" srcId="{81A12C5D-7233-4662-9D34-73097E08723A}" destId="{9893B425-7AF2-44EA-83BB-9011327D6914}" srcOrd="2" destOrd="0" presId="urn:microsoft.com/office/officeart/2005/8/layout/bProcess4"/>
    <dgm:cxn modelId="{573E7E87-9634-4B9A-B20B-3D754C796796}" type="presParOf" srcId="{9893B425-7AF2-44EA-83BB-9011327D6914}" destId="{0ED3F607-915A-43D2-BDAF-D3329453ECEB}" srcOrd="0" destOrd="0" presId="urn:microsoft.com/office/officeart/2005/8/layout/bProcess4"/>
    <dgm:cxn modelId="{B54B2FFA-41E4-42A4-A8D8-1FC3B8ABA87B}" type="presParOf" srcId="{9893B425-7AF2-44EA-83BB-9011327D6914}" destId="{5762BA36-EFA9-4BDE-9928-25D18B8EC4E4}" srcOrd="1" destOrd="0" presId="urn:microsoft.com/office/officeart/2005/8/layout/bProcess4"/>
    <dgm:cxn modelId="{1AA55E65-01CF-4022-9AFB-A7BF45CE9170}" type="presParOf" srcId="{81A12C5D-7233-4662-9D34-73097E08723A}" destId="{DEF0D9CA-2937-4993-BB71-5020A492A06A}" srcOrd="3" destOrd="0" presId="urn:microsoft.com/office/officeart/2005/8/layout/bProcess4"/>
    <dgm:cxn modelId="{CD9B5F47-168A-4C6B-982D-817FD396589F}" type="presParOf" srcId="{81A12C5D-7233-4662-9D34-73097E08723A}" destId="{366B7D48-6607-464B-8EEF-C527ED82FE9F}" srcOrd="4" destOrd="0" presId="urn:microsoft.com/office/officeart/2005/8/layout/bProcess4"/>
    <dgm:cxn modelId="{4BE0027E-DFA1-4C93-8834-7F2A77A36ED2}" type="presParOf" srcId="{366B7D48-6607-464B-8EEF-C527ED82FE9F}" destId="{970CEB34-F719-472B-B590-F19FBFAF5BEE}" srcOrd="0" destOrd="0" presId="urn:microsoft.com/office/officeart/2005/8/layout/bProcess4"/>
    <dgm:cxn modelId="{D8271E5E-2E14-41D1-B03E-956DD8318C89}" type="presParOf" srcId="{366B7D48-6607-464B-8EEF-C527ED82FE9F}" destId="{DFE929F3-F1EB-4E33-B6DC-D616C690BB18}" srcOrd="1" destOrd="0" presId="urn:microsoft.com/office/officeart/2005/8/layout/bProcess4"/>
    <dgm:cxn modelId="{5D379EDE-3EA7-402C-A82D-5E15E5FDC77C}" type="presParOf" srcId="{81A12C5D-7233-4662-9D34-73097E08723A}" destId="{ABE35F0C-4E28-456A-A879-9552EF557560}" srcOrd="5" destOrd="0" presId="urn:microsoft.com/office/officeart/2005/8/layout/bProcess4"/>
    <dgm:cxn modelId="{9C341437-C939-432A-A954-38D6601D0248}" type="presParOf" srcId="{81A12C5D-7233-4662-9D34-73097E08723A}" destId="{B9D26EF1-B305-46E2-9F3C-F58C81868C34}" srcOrd="6" destOrd="0" presId="urn:microsoft.com/office/officeart/2005/8/layout/bProcess4"/>
    <dgm:cxn modelId="{2AADB1F5-AA07-4DEB-909B-9E63FA82D294}" type="presParOf" srcId="{B9D26EF1-B305-46E2-9F3C-F58C81868C34}" destId="{5F3BBC51-583E-4024-B235-625C83901186}" srcOrd="0" destOrd="0" presId="urn:microsoft.com/office/officeart/2005/8/layout/bProcess4"/>
    <dgm:cxn modelId="{8B861D3E-EA94-40B0-A8D8-FB6838BF277E}" type="presParOf" srcId="{B9D26EF1-B305-46E2-9F3C-F58C81868C34}" destId="{308492C1-4849-45F3-9E2F-9AD196C43577}" srcOrd="1" destOrd="0" presId="urn:microsoft.com/office/officeart/2005/8/layout/bProcess4"/>
    <dgm:cxn modelId="{8595D008-D16D-4ABF-A8D5-897549CB9BB2}" type="presParOf" srcId="{81A12C5D-7233-4662-9D34-73097E08723A}" destId="{2943EFD1-D253-48D5-95D9-A694A849D7DB}" srcOrd="7" destOrd="0" presId="urn:microsoft.com/office/officeart/2005/8/layout/bProcess4"/>
    <dgm:cxn modelId="{9CE31502-1233-4164-BECA-A51CA35C4F4B}" type="presParOf" srcId="{81A12C5D-7233-4662-9D34-73097E08723A}" destId="{88412258-B6CC-4DC0-9A8C-930810D901C3}" srcOrd="8" destOrd="0" presId="urn:microsoft.com/office/officeart/2005/8/layout/bProcess4"/>
    <dgm:cxn modelId="{27A88395-E4AC-4D00-B63A-5A9AC0EC4A5D}" type="presParOf" srcId="{88412258-B6CC-4DC0-9A8C-930810D901C3}" destId="{475C730D-9249-4EEE-80E2-60E51527D340}" srcOrd="0" destOrd="0" presId="urn:microsoft.com/office/officeart/2005/8/layout/bProcess4"/>
    <dgm:cxn modelId="{6D6DC962-CE3B-4246-A0F5-8889BF6998C1}" type="presParOf" srcId="{88412258-B6CC-4DC0-9A8C-930810D901C3}" destId="{1ADF6FF1-015F-4E57-9A44-229AB15BB891}" srcOrd="1" destOrd="0" presId="urn:microsoft.com/office/officeart/2005/8/layout/bProcess4"/>
    <dgm:cxn modelId="{023FDD74-5AE7-4E47-ABB2-BBC21DDB7DAE}" type="presParOf" srcId="{81A12C5D-7233-4662-9D34-73097E08723A}" destId="{151353A4-ED70-4ACD-A43B-15BE7DF74A15}" srcOrd="9" destOrd="0" presId="urn:microsoft.com/office/officeart/2005/8/layout/bProcess4"/>
    <dgm:cxn modelId="{6FB849B3-7C8B-4029-A722-E280F1DBE117}" type="presParOf" srcId="{81A12C5D-7233-4662-9D34-73097E08723A}" destId="{280B9175-CB74-4213-8E5A-896A777A98E8}" srcOrd="10" destOrd="0" presId="urn:microsoft.com/office/officeart/2005/8/layout/bProcess4"/>
    <dgm:cxn modelId="{BAFEDFA4-064F-4F5D-B57B-0D0BC8DA697C}" type="presParOf" srcId="{280B9175-CB74-4213-8E5A-896A777A98E8}" destId="{26F1345C-9ED7-41DF-9D20-487432D40662}" srcOrd="0" destOrd="0" presId="urn:microsoft.com/office/officeart/2005/8/layout/bProcess4"/>
    <dgm:cxn modelId="{FEBD125E-4FD8-4F4C-AD16-2C1615DE75CF}" type="presParOf" srcId="{280B9175-CB74-4213-8E5A-896A777A98E8}" destId="{1AB70730-DE4F-45BF-AC19-3E8ACDC3FCF7}" srcOrd="1" destOrd="0" presId="urn:microsoft.com/office/officeart/2005/8/layout/bProcess4"/>
    <dgm:cxn modelId="{921A4ABB-D2D2-4214-A3F7-B88934A36FD6}" type="presParOf" srcId="{81A12C5D-7233-4662-9D34-73097E08723A}" destId="{7D39C1DA-0423-4F1A-B878-74279D89C51A}" srcOrd="11" destOrd="0" presId="urn:microsoft.com/office/officeart/2005/8/layout/bProcess4"/>
    <dgm:cxn modelId="{A6C3528C-F82C-4B84-AEC1-216C768F0A09}" type="presParOf" srcId="{81A12C5D-7233-4662-9D34-73097E08723A}" destId="{54000CC0-48B7-46AA-920D-D19E4E40E878}" srcOrd="12" destOrd="0" presId="urn:microsoft.com/office/officeart/2005/8/layout/bProcess4"/>
    <dgm:cxn modelId="{0459533B-C108-42D5-9C8F-82D4D2571C64}" type="presParOf" srcId="{54000CC0-48B7-46AA-920D-D19E4E40E878}" destId="{4DFE7203-6C1C-4FCF-9BA8-7E457641868C}" srcOrd="0" destOrd="0" presId="urn:microsoft.com/office/officeart/2005/8/layout/bProcess4"/>
    <dgm:cxn modelId="{50985F35-9479-40B1-BC68-C63621FFD237}" type="presParOf" srcId="{54000CC0-48B7-46AA-920D-D19E4E40E878}" destId="{2F16D533-F0F7-4D6C-A8F6-6B7A08066E20}" srcOrd="1" destOrd="0" presId="urn:microsoft.com/office/officeart/2005/8/layout/bProcess4"/>
    <dgm:cxn modelId="{0EB2EA00-71E3-4CB0-A25A-B59DF9BB7F60}" type="presParOf" srcId="{81A12C5D-7233-4662-9D34-73097E08723A}" destId="{A8F1686F-0707-456D-9F7D-F7239970FA29}" srcOrd="13" destOrd="0" presId="urn:microsoft.com/office/officeart/2005/8/layout/bProcess4"/>
    <dgm:cxn modelId="{BC7B26A9-4977-4F31-8406-F456E6AA5FED}" type="presParOf" srcId="{81A12C5D-7233-4662-9D34-73097E08723A}" destId="{56BB8644-71E1-4329-A32C-0D4E9C72ED7D}" srcOrd="14" destOrd="0" presId="urn:microsoft.com/office/officeart/2005/8/layout/bProcess4"/>
    <dgm:cxn modelId="{EE58051F-B18A-4FD8-820F-B8D7573F2559}" type="presParOf" srcId="{56BB8644-71E1-4329-A32C-0D4E9C72ED7D}" destId="{34291B4D-8C18-48AA-835E-D2AE56EFA013}" srcOrd="0" destOrd="0" presId="urn:microsoft.com/office/officeart/2005/8/layout/bProcess4"/>
    <dgm:cxn modelId="{0D15AD0F-9D4C-4F21-B61C-5730A057F33D}" type="presParOf" srcId="{56BB8644-71E1-4329-A32C-0D4E9C72ED7D}" destId="{8007E9BB-788C-44B4-B2D9-149C2CE7002B}" srcOrd="1" destOrd="0" presId="urn:microsoft.com/office/officeart/2005/8/layout/bProcess4"/>
    <dgm:cxn modelId="{15857508-7B36-4D59-8F59-2FE5331374DE}" type="presParOf" srcId="{81A12C5D-7233-4662-9D34-73097E08723A}" destId="{5D90366A-F553-4618-9355-E0DA9DF954A2}" srcOrd="15" destOrd="0" presId="urn:microsoft.com/office/officeart/2005/8/layout/bProcess4"/>
    <dgm:cxn modelId="{65EA4460-E5C0-4F9B-A9ED-E4B846601531}" type="presParOf" srcId="{81A12C5D-7233-4662-9D34-73097E08723A}" destId="{E520604D-F27F-4F77-9FA0-17BF9C3E635F}" srcOrd="16" destOrd="0" presId="urn:microsoft.com/office/officeart/2005/8/layout/bProcess4"/>
    <dgm:cxn modelId="{5361E282-1826-4EE2-9A58-98C9862A5BE2}" type="presParOf" srcId="{E520604D-F27F-4F77-9FA0-17BF9C3E635F}" destId="{EBDDAF38-69BE-4459-86A1-E8F9E2E2ECA9}" srcOrd="0" destOrd="0" presId="urn:microsoft.com/office/officeart/2005/8/layout/bProcess4"/>
    <dgm:cxn modelId="{8AF8B984-5BBF-46D9-ABDC-81F113DE6789}" type="presParOf" srcId="{E520604D-F27F-4F77-9FA0-17BF9C3E635F}" destId="{CBB78A34-261D-4A3F-B529-F72E5BF01D05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2099E9B-1E52-4C98-98BB-D8DDBFC2E3CC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192F4F0-FA57-4630-A170-F45E47111AE5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4F3B6F64-86D7-45DD-8222-9BC9181590DA}" type="parTrans" cxnId="{60037F3B-4C46-4B06-BDDC-A0F38897088E}">
      <dgm:prSet/>
      <dgm:spPr/>
      <dgm:t>
        <a:bodyPr/>
        <a:lstStyle/>
        <a:p>
          <a:endParaRPr lang="en-US"/>
        </a:p>
      </dgm:t>
    </dgm:pt>
    <dgm:pt modelId="{DACB33DA-D437-40FA-8F81-A6DC24446239}" type="sibTrans" cxnId="{60037F3B-4C46-4B06-BDDC-A0F38897088E}">
      <dgm:prSet/>
      <dgm:spPr/>
      <dgm:t>
        <a:bodyPr/>
        <a:lstStyle/>
        <a:p>
          <a:endParaRPr lang="en-US"/>
        </a:p>
      </dgm:t>
    </dgm:pt>
    <dgm:pt modelId="{C56C6945-EA24-4CD1-8F72-DAAF8A75ACAA}">
      <dgm:prSet phldrT="[Text]"/>
      <dgm:spPr>
        <a:solidFill>
          <a:srgbClr val="FFC000"/>
        </a:solidFill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Sub-system</a:t>
          </a:r>
          <a:endParaRPr lang="en-US" dirty="0">
            <a:solidFill>
              <a:schemeClr val="tx1"/>
            </a:solidFill>
          </a:endParaRPr>
        </a:p>
      </dgm:t>
    </dgm:pt>
    <dgm:pt modelId="{C7F45AB2-E0F4-4580-B969-35CC39780352}" type="parTrans" cxnId="{EE63CED3-EA74-44C5-AC3F-8729839E3715}">
      <dgm:prSet/>
      <dgm:spPr/>
      <dgm:t>
        <a:bodyPr/>
        <a:lstStyle/>
        <a:p>
          <a:endParaRPr lang="en-US"/>
        </a:p>
      </dgm:t>
    </dgm:pt>
    <dgm:pt modelId="{BBA272A5-D96A-4F73-BE48-B7D0D1E8DD4F}" type="sibTrans" cxnId="{EE63CED3-EA74-44C5-AC3F-8729839E3715}">
      <dgm:prSet/>
      <dgm:spPr/>
      <dgm:t>
        <a:bodyPr/>
        <a:lstStyle/>
        <a:p>
          <a:endParaRPr lang="en-US"/>
        </a:p>
      </dgm:t>
    </dgm:pt>
    <dgm:pt modelId="{79343CCA-3B0C-44B8-A00B-EEACC0A0791B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5EBE46C5-3707-46DA-8C9B-B3C7DE98E969}" type="parTrans" cxnId="{93CEBE4C-9819-47AE-AEBD-F00F9D8587C5}">
      <dgm:prSet/>
      <dgm:spPr/>
      <dgm:t>
        <a:bodyPr/>
        <a:lstStyle/>
        <a:p>
          <a:endParaRPr lang="en-US"/>
        </a:p>
      </dgm:t>
    </dgm:pt>
    <dgm:pt modelId="{54733E06-511B-4931-AF6A-4A152CEF426A}" type="sibTrans" cxnId="{93CEBE4C-9819-47AE-AEBD-F00F9D8587C5}">
      <dgm:prSet/>
      <dgm:spPr/>
      <dgm:t>
        <a:bodyPr/>
        <a:lstStyle/>
        <a:p>
          <a:endParaRPr lang="en-US"/>
        </a:p>
      </dgm:t>
    </dgm:pt>
    <dgm:pt modelId="{EB0C611B-39C7-4FE9-B3CC-29328D2AF277}">
      <dgm:prSet phldrT="[Text]"/>
      <dgm:spPr/>
      <dgm:t>
        <a:bodyPr/>
        <a:lstStyle/>
        <a:p>
          <a:r>
            <a:rPr lang="en-US" dirty="0" smtClean="0"/>
            <a:t>Sub-routine</a:t>
          </a:r>
          <a:endParaRPr lang="en-US" dirty="0"/>
        </a:p>
      </dgm:t>
    </dgm:pt>
    <dgm:pt modelId="{7C448212-F52A-45AA-BE67-C6C57C5369AC}" type="parTrans" cxnId="{90D0C109-8E67-434A-A2B6-3723EA50A1CC}">
      <dgm:prSet/>
      <dgm:spPr/>
      <dgm:t>
        <a:bodyPr/>
        <a:lstStyle/>
        <a:p>
          <a:endParaRPr lang="en-US"/>
        </a:p>
      </dgm:t>
    </dgm:pt>
    <dgm:pt modelId="{48DCC8A4-CB7C-4C62-9661-2872A3F37B47}" type="sibTrans" cxnId="{90D0C109-8E67-434A-A2B6-3723EA50A1CC}">
      <dgm:prSet/>
      <dgm:spPr/>
      <dgm:t>
        <a:bodyPr/>
        <a:lstStyle/>
        <a:p>
          <a:endParaRPr lang="en-US"/>
        </a:p>
      </dgm:t>
    </dgm:pt>
    <dgm:pt modelId="{7066790E-74B1-4B17-BE51-BFA909A84E04}">
      <dgm:prSet phldrT="[Text]"/>
      <dgm:spPr>
        <a:solidFill>
          <a:srgbClr val="FF0000"/>
        </a:solidFill>
      </dgm:spPr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5BFF7F85-E387-43FA-83C8-186C725CC28D}" type="parTrans" cxnId="{5BBE4EFF-8DE2-410A-94CD-730C8ADA2387}">
      <dgm:prSet/>
      <dgm:spPr/>
      <dgm:t>
        <a:bodyPr/>
        <a:lstStyle/>
        <a:p>
          <a:endParaRPr lang="en-US"/>
        </a:p>
      </dgm:t>
    </dgm:pt>
    <dgm:pt modelId="{DBAA3649-6629-4780-BE93-3F2678E19DD2}" type="sibTrans" cxnId="{5BBE4EFF-8DE2-410A-94CD-730C8ADA2387}">
      <dgm:prSet/>
      <dgm:spPr/>
      <dgm:t>
        <a:bodyPr/>
        <a:lstStyle/>
        <a:p>
          <a:endParaRPr lang="en-US"/>
        </a:p>
      </dgm:t>
    </dgm:pt>
    <dgm:pt modelId="{74912DDC-3E70-4933-9934-9F8F98732229}">
      <dgm:prSet phldrT="[Text]"/>
      <dgm:spPr>
        <a:solidFill>
          <a:srgbClr val="FFC000"/>
        </a:solidFill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Sub-process</a:t>
          </a:r>
          <a:endParaRPr lang="en-US" dirty="0">
            <a:solidFill>
              <a:schemeClr val="tx1"/>
            </a:solidFill>
          </a:endParaRPr>
        </a:p>
      </dgm:t>
    </dgm:pt>
    <dgm:pt modelId="{4C939804-8E20-4B6E-BA28-97899AA790D3}" type="parTrans" cxnId="{6A94B023-840E-4E7A-8D63-79E67ED04D51}">
      <dgm:prSet/>
      <dgm:spPr/>
      <dgm:t>
        <a:bodyPr/>
        <a:lstStyle/>
        <a:p>
          <a:endParaRPr lang="en-US"/>
        </a:p>
      </dgm:t>
    </dgm:pt>
    <dgm:pt modelId="{DF8A2429-1B3A-44BF-8ED1-6D4A24FFC982}" type="sibTrans" cxnId="{6A94B023-840E-4E7A-8D63-79E67ED04D51}">
      <dgm:prSet/>
      <dgm:spPr/>
      <dgm:t>
        <a:bodyPr/>
        <a:lstStyle/>
        <a:p>
          <a:endParaRPr lang="en-US"/>
        </a:p>
      </dgm:t>
    </dgm:pt>
    <dgm:pt modelId="{186DC85C-9962-45A2-813F-D434CAFAF263}">
      <dgm:prSet phldrT="[Text]"/>
      <dgm:spPr/>
      <dgm:t>
        <a:bodyPr/>
        <a:lstStyle/>
        <a:p>
          <a:r>
            <a:rPr lang="en-US" dirty="0" smtClean="0"/>
            <a:t>Sub-process</a:t>
          </a:r>
          <a:endParaRPr lang="en-US" dirty="0"/>
        </a:p>
      </dgm:t>
    </dgm:pt>
    <dgm:pt modelId="{F569EDE3-70EA-4137-93A1-0B30535FEAA3}" type="parTrans" cxnId="{46A23D6F-B0EF-4DDF-B54F-89E8283EEA76}">
      <dgm:prSet/>
      <dgm:spPr/>
      <dgm:t>
        <a:bodyPr/>
        <a:lstStyle/>
        <a:p>
          <a:endParaRPr lang="en-US"/>
        </a:p>
      </dgm:t>
    </dgm:pt>
    <dgm:pt modelId="{9A706050-6B2F-4C69-8970-454E684B88B6}" type="sibTrans" cxnId="{46A23D6F-B0EF-4DDF-B54F-89E8283EEA76}">
      <dgm:prSet/>
      <dgm:spPr/>
      <dgm:t>
        <a:bodyPr/>
        <a:lstStyle/>
        <a:p>
          <a:endParaRPr lang="en-US"/>
        </a:p>
      </dgm:t>
    </dgm:pt>
    <dgm:pt modelId="{AEB0912E-57E7-42FA-97F9-72F074FB1189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 smtClean="0"/>
            <a:t>Sub-system</a:t>
          </a:r>
          <a:endParaRPr lang="en-US" dirty="0"/>
        </a:p>
      </dgm:t>
    </dgm:pt>
    <dgm:pt modelId="{8609929E-7489-4409-9C4F-5A444057A802}" type="parTrans" cxnId="{2C52910E-C86A-4C15-BF44-0E056793AAFD}">
      <dgm:prSet/>
      <dgm:spPr/>
      <dgm:t>
        <a:bodyPr/>
        <a:lstStyle/>
        <a:p>
          <a:endParaRPr lang="en-US"/>
        </a:p>
      </dgm:t>
    </dgm:pt>
    <dgm:pt modelId="{BCDE2266-3B5E-45C8-9E7D-3C69BD2098DF}" type="sibTrans" cxnId="{2C52910E-C86A-4C15-BF44-0E056793AAFD}">
      <dgm:prSet/>
      <dgm:spPr/>
      <dgm:t>
        <a:bodyPr/>
        <a:lstStyle/>
        <a:p>
          <a:endParaRPr lang="en-US"/>
        </a:p>
      </dgm:t>
    </dgm:pt>
    <dgm:pt modelId="{DB5905AB-2183-41E2-A0D5-01064A9368F3}">
      <dgm:prSet phldrT="[Text]"/>
      <dgm:spPr>
        <a:solidFill>
          <a:srgbClr val="FFC000"/>
        </a:solidFill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Sub-routine</a:t>
          </a:r>
          <a:endParaRPr lang="en-US" dirty="0">
            <a:solidFill>
              <a:schemeClr val="tx1"/>
            </a:solidFill>
          </a:endParaRPr>
        </a:p>
      </dgm:t>
    </dgm:pt>
    <dgm:pt modelId="{770522C0-2A52-4DF7-90F1-C4F3EB7E3B21}" type="parTrans" cxnId="{CDB18395-27E2-408C-80B9-9DCA7D1F34DD}">
      <dgm:prSet/>
      <dgm:spPr/>
      <dgm:t>
        <a:bodyPr/>
        <a:lstStyle/>
        <a:p>
          <a:endParaRPr lang="en-US"/>
        </a:p>
      </dgm:t>
    </dgm:pt>
    <dgm:pt modelId="{0887B4A9-912E-4154-8E1E-2AB9B74308E9}" type="sibTrans" cxnId="{CDB18395-27E2-408C-80B9-9DCA7D1F34DD}">
      <dgm:prSet/>
      <dgm:spPr/>
      <dgm:t>
        <a:bodyPr/>
        <a:lstStyle/>
        <a:p>
          <a:endParaRPr lang="en-US"/>
        </a:p>
      </dgm:t>
    </dgm:pt>
    <dgm:pt modelId="{81A12C5D-7233-4662-9D34-73097E08723A}" type="pres">
      <dgm:prSet presAssocID="{E2099E9B-1E52-4C98-98BB-D8DDBFC2E3CC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84DF19FB-83D1-4297-B7E7-77083E480073}" type="pres">
      <dgm:prSet presAssocID="{1192F4F0-FA57-4630-A170-F45E47111AE5}" presName="compNode" presStyleCnt="0"/>
      <dgm:spPr/>
    </dgm:pt>
    <dgm:pt modelId="{6B0F0C82-9D76-4386-869D-959A4409867B}" type="pres">
      <dgm:prSet presAssocID="{1192F4F0-FA57-4630-A170-F45E47111AE5}" presName="dummyConnPt" presStyleCnt="0"/>
      <dgm:spPr/>
    </dgm:pt>
    <dgm:pt modelId="{4D7EA76F-C064-49EF-8AFC-3868360AEF07}" type="pres">
      <dgm:prSet presAssocID="{1192F4F0-FA57-4630-A170-F45E47111AE5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10AE8D-B624-4066-913D-82A0512003C4}" type="pres">
      <dgm:prSet presAssocID="{DACB33DA-D437-40FA-8F81-A6DC24446239}" presName="sibTrans" presStyleLbl="bgSibTrans2D1" presStyleIdx="0" presStyleCnt="8"/>
      <dgm:spPr/>
      <dgm:t>
        <a:bodyPr/>
        <a:lstStyle/>
        <a:p>
          <a:endParaRPr lang="en-US"/>
        </a:p>
      </dgm:t>
    </dgm:pt>
    <dgm:pt modelId="{9893B425-7AF2-44EA-83BB-9011327D6914}" type="pres">
      <dgm:prSet presAssocID="{C56C6945-EA24-4CD1-8F72-DAAF8A75ACAA}" presName="compNode" presStyleCnt="0"/>
      <dgm:spPr/>
    </dgm:pt>
    <dgm:pt modelId="{0ED3F607-915A-43D2-BDAF-D3329453ECEB}" type="pres">
      <dgm:prSet presAssocID="{C56C6945-EA24-4CD1-8F72-DAAF8A75ACAA}" presName="dummyConnPt" presStyleCnt="0"/>
      <dgm:spPr/>
    </dgm:pt>
    <dgm:pt modelId="{5762BA36-EFA9-4BDE-9928-25D18B8EC4E4}" type="pres">
      <dgm:prSet presAssocID="{C56C6945-EA24-4CD1-8F72-DAAF8A75ACA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F0D9CA-2937-4993-BB71-5020A492A06A}" type="pres">
      <dgm:prSet presAssocID="{BBA272A5-D96A-4F73-BE48-B7D0D1E8DD4F}" presName="sibTrans" presStyleLbl="bgSibTrans2D1" presStyleIdx="1" presStyleCnt="8"/>
      <dgm:spPr/>
      <dgm:t>
        <a:bodyPr/>
        <a:lstStyle/>
        <a:p>
          <a:endParaRPr lang="en-US"/>
        </a:p>
      </dgm:t>
    </dgm:pt>
    <dgm:pt modelId="{366B7D48-6607-464B-8EEF-C527ED82FE9F}" type="pres">
      <dgm:prSet presAssocID="{79343CCA-3B0C-44B8-A00B-EEACC0A0791B}" presName="compNode" presStyleCnt="0"/>
      <dgm:spPr/>
    </dgm:pt>
    <dgm:pt modelId="{970CEB34-F719-472B-B590-F19FBFAF5BEE}" type="pres">
      <dgm:prSet presAssocID="{79343CCA-3B0C-44B8-A00B-EEACC0A0791B}" presName="dummyConnPt" presStyleCnt="0"/>
      <dgm:spPr/>
    </dgm:pt>
    <dgm:pt modelId="{DFE929F3-F1EB-4E33-B6DC-D616C690BB18}" type="pres">
      <dgm:prSet presAssocID="{79343CCA-3B0C-44B8-A00B-EEACC0A0791B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E35F0C-4E28-456A-A879-9552EF557560}" type="pres">
      <dgm:prSet presAssocID="{54733E06-511B-4931-AF6A-4A152CEF426A}" presName="sibTrans" presStyleLbl="bgSibTrans2D1" presStyleIdx="2" presStyleCnt="8"/>
      <dgm:spPr/>
      <dgm:t>
        <a:bodyPr/>
        <a:lstStyle/>
        <a:p>
          <a:endParaRPr lang="en-US"/>
        </a:p>
      </dgm:t>
    </dgm:pt>
    <dgm:pt modelId="{B9D26EF1-B305-46E2-9F3C-F58C81868C34}" type="pres">
      <dgm:prSet presAssocID="{EB0C611B-39C7-4FE9-B3CC-29328D2AF277}" presName="compNode" presStyleCnt="0"/>
      <dgm:spPr/>
    </dgm:pt>
    <dgm:pt modelId="{5F3BBC51-583E-4024-B235-625C83901186}" type="pres">
      <dgm:prSet presAssocID="{EB0C611B-39C7-4FE9-B3CC-29328D2AF277}" presName="dummyConnPt" presStyleCnt="0"/>
      <dgm:spPr/>
    </dgm:pt>
    <dgm:pt modelId="{308492C1-4849-45F3-9E2F-9AD196C43577}" type="pres">
      <dgm:prSet presAssocID="{EB0C611B-39C7-4FE9-B3CC-29328D2AF277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43EFD1-D253-48D5-95D9-A694A849D7DB}" type="pres">
      <dgm:prSet presAssocID="{48DCC8A4-CB7C-4C62-9661-2872A3F37B47}" presName="sibTrans" presStyleLbl="bgSibTrans2D1" presStyleIdx="3" presStyleCnt="8"/>
      <dgm:spPr/>
      <dgm:t>
        <a:bodyPr/>
        <a:lstStyle/>
        <a:p>
          <a:endParaRPr lang="en-US"/>
        </a:p>
      </dgm:t>
    </dgm:pt>
    <dgm:pt modelId="{88412258-B6CC-4DC0-9A8C-930810D901C3}" type="pres">
      <dgm:prSet presAssocID="{7066790E-74B1-4B17-BE51-BFA909A84E04}" presName="compNode" presStyleCnt="0"/>
      <dgm:spPr/>
    </dgm:pt>
    <dgm:pt modelId="{475C730D-9249-4EEE-80E2-60E51527D340}" type="pres">
      <dgm:prSet presAssocID="{7066790E-74B1-4B17-BE51-BFA909A84E04}" presName="dummyConnPt" presStyleCnt="0"/>
      <dgm:spPr/>
    </dgm:pt>
    <dgm:pt modelId="{1ADF6FF1-015F-4E57-9A44-229AB15BB891}" type="pres">
      <dgm:prSet presAssocID="{7066790E-74B1-4B17-BE51-BFA909A84E04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1353A4-ED70-4ACD-A43B-15BE7DF74A15}" type="pres">
      <dgm:prSet presAssocID="{DBAA3649-6629-4780-BE93-3F2678E19DD2}" presName="sibTrans" presStyleLbl="bgSibTrans2D1" presStyleIdx="4" presStyleCnt="8"/>
      <dgm:spPr/>
      <dgm:t>
        <a:bodyPr/>
        <a:lstStyle/>
        <a:p>
          <a:endParaRPr lang="en-US"/>
        </a:p>
      </dgm:t>
    </dgm:pt>
    <dgm:pt modelId="{280B9175-CB74-4213-8E5A-896A777A98E8}" type="pres">
      <dgm:prSet presAssocID="{74912DDC-3E70-4933-9934-9F8F98732229}" presName="compNode" presStyleCnt="0"/>
      <dgm:spPr/>
    </dgm:pt>
    <dgm:pt modelId="{26F1345C-9ED7-41DF-9D20-487432D40662}" type="pres">
      <dgm:prSet presAssocID="{74912DDC-3E70-4933-9934-9F8F98732229}" presName="dummyConnPt" presStyleCnt="0"/>
      <dgm:spPr/>
    </dgm:pt>
    <dgm:pt modelId="{1AB70730-DE4F-45BF-AC19-3E8ACDC3FCF7}" type="pres">
      <dgm:prSet presAssocID="{74912DDC-3E70-4933-9934-9F8F98732229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39C1DA-0423-4F1A-B878-74279D89C51A}" type="pres">
      <dgm:prSet presAssocID="{DF8A2429-1B3A-44BF-8ED1-6D4A24FFC982}" presName="sibTrans" presStyleLbl="bgSibTrans2D1" presStyleIdx="5" presStyleCnt="8"/>
      <dgm:spPr/>
      <dgm:t>
        <a:bodyPr/>
        <a:lstStyle/>
        <a:p>
          <a:endParaRPr lang="en-US"/>
        </a:p>
      </dgm:t>
    </dgm:pt>
    <dgm:pt modelId="{54000CC0-48B7-46AA-920D-D19E4E40E878}" type="pres">
      <dgm:prSet presAssocID="{186DC85C-9962-45A2-813F-D434CAFAF263}" presName="compNode" presStyleCnt="0"/>
      <dgm:spPr/>
    </dgm:pt>
    <dgm:pt modelId="{4DFE7203-6C1C-4FCF-9BA8-7E457641868C}" type="pres">
      <dgm:prSet presAssocID="{186DC85C-9962-45A2-813F-D434CAFAF263}" presName="dummyConnPt" presStyleCnt="0"/>
      <dgm:spPr/>
    </dgm:pt>
    <dgm:pt modelId="{2F16D533-F0F7-4D6C-A8F6-6B7A08066E20}" type="pres">
      <dgm:prSet presAssocID="{186DC85C-9962-45A2-813F-D434CAFAF263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F1686F-0707-456D-9F7D-F7239970FA29}" type="pres">
      <dgm:prSet presAssocID="{9A706050-6B2F-4C69-8970-454E684B88B6}" presName="sibTrans" presStyleLbl="bgSibTrans2D1" presStyleIdx="6" presStyleCnt="8"/>
      <dgm:spPr/>
      <dgm:t>
        <a:bodyPr/>
        <a:lstStyle/>
        <a:p>
          <a:endParaRPr lang="en-US"/>
        </a:p>
      </dgm:t>
    </dgm:pt>
    <dgm:pt modelId="{56BB8644-71E1-4329-A32C-0D4E9C72ED7D}" type="pres">
      <dgm:prSet presAssocID="{AEB0912E-57E7-42FA-97F9-72F074FB1189}" presName="compNode" presStyleCnt="0"/>
      <dgm:spPr/>
    </dgm:pt>
    <dgm:pt modelId="{34291B4D-8C18-48AA-835E-D2AE56EFA013}" type="pres">
      <dgm:prSet presAssocID="{AEB0912E-57E7-42FA-97F9-72F074FB1189}" presName="dummyConnPt" presStyleCnt="0"/>
      <dgm:spPr/>
    </dgm:pt>
    <dgm:pt modelId="{8007E9BB-788C-44B4-B2D9-149C2CE7002B}" type="pres">
      <dgm:prSet presAssocID="{AEB0912E-57E7-42FA-97F9-72F074FB1189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0366A-F553-4618-9355-E0DA9DF954A2}" type="pres">
      <dgm:prSet presAssocID="{BCDE2266-3B5E-45C8-9E7D-3C69BD2098DF}" presName="sibTrans" presStyleLbl="bgSibTrans2D1" presStyleIdx="7" presStyleCnt="8"/>
      <dgm:spPr/>
      <dgm:t>
        <a:bodyPr/>
        <a:lstStyle/>
        <a:p>
          <a:endParaRPr lang="en-US"/>
        </a:p>
      </dgm:t>
    </dgm:pt>
    <dgm:pt modelId="{E520604D-F27F-4F77-9FA0-17BF9C3E635F}" type="pres">
      <dgm:prSet presAssocID="{DB5905AB-2183-41E2-A0D5-01064A9368F3}" presName="compNode" presStyleCnt="0"/>
      <dgm:spPr/>
    </dgm:pt>
    <dgm:pt modelId="{EBDDAF38-69BE-4459-86A1-E8F9E2E2ECA9}" type="pres">
      <dgm:prSet presAssocID="{DB5905AB-2183-41E2-A0D5-01064A9368F3}" presName="dummyConnPt" presStyleCnt="0"/>
      <dgm:spPr/>
    </dgm:pt>
    <dgm:pt modelId="{CBB78A34-261D-4A3F-B529-F72E5BF01D05}" type="pres">
      <dgm:prSet presAssocID="{DB5905AB-2183-41E2-A0D5-01064A9368F3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C239A07-5A12-40AC-BEA8-19AD69EAEFE1}" type="presOf" srcId="{DACB33DA-D437-40FA-8F81-A6DC24446239}" destId="{C910AE8D-B624-4066-913D-82A0512003C4}" srcOrd="0" destOrd="0" presId="urn:microsoft.com/office/officeart/2005/8/layout/bProcess4"/>
    <dgm:cxn modelId="{71FF3EF7-5575-47CF-B8F4-B76C962F2FDE}" type="presOf" srcId="{EB0C611B-39C7-4FE9-B3CC-29328D2AF277}" destId="{308492C1-4849-45F3-9E2F-9AD196C43577}" srcOrd="0" destOrd="0" presId="urn:microsoft.com/office/officeart/2005/8/layout/bProcess4"/>
    <dgm:cxn modelId="{5BBE4EFF-8DE2-410A-94CD-730C8ADA2387}" srcId="{E2099E9B-1E52-4C98-98BB-D8DDBFC2E3CC}" destId="{7066790E-74B1-4B17-BE51-BFA909A84E04}" srcOrd="4" destOrd="0" parTransId="{5BFF7F85-E387-43FA-83C8-186C725CC28D}" sibTransId="{DBAA3649-6629-4780-BE93-3F2678E19DD2}"/>
    <dgm:cxn modelId="{ACB69BDF-C45D-44B3-BA6F-5209B34D35D6}" type="presOf" srcId="{79343CCA-3B0C-44B8-A00B-EEACC0A0791B}" destId="{DFE929F3-F1EB-4E33-B6DC-D616C690BB18}" srcOrd="0" destOrd="0" presId="urn:microsoft.com/office/officeart/2005/8/layout/bProcess4"/>
    <dgm:cxn modelId="{BFE9168F-EDED-46A9-9951-3DEBFE878CDF}" type="presOf" srcId="{AEB0912E-57E7-42FA-97F9-72F074FB1189}" destId="{8007E9BB-788C-44B4-B2D9-149C2CE7002B}" srcOrd="0" destOrd="0" presId="urn:microsoft.com/office/officeart/2005/8/layout/bProcess4"/>
    <dgm:cxn modelId="{CA7C688F-35F3-4264-ABEC-A3E4FBA9A511}" type="presOf" srcId="{BCDE2266-3B5E-45C8-9E7D-3C69BD2098DF}" destId="{5D90366A-F553-4618-9355-E0DA9DF954A2}" srcOrd="0" destOrd="0" presId="urn:microsoft.com/office/officeart/2005/8/layout/bProcess4"/>
    <dgm:cxn modelId="{AFFA3602-5593-4C52-8065-2684F142988E}" type="presOf" srcId="{74912DDC-3E70-4933-9934-9F8F98732229}" destId="{1AB70730-DE4F-45BF-AC19-3E8ACDC3FCF7}" srcOrd="0" destOrd="0" presId="urn:microsoft.com/office/officeart/2005/8/layout/bProcess4"/>
    <dgm:cxn modelId="{60037F3B-4C46-4B06-BDDC-A0F38897088E}" srcId="{E2099E9B-1E52-4C98-98BB-D8DDBFC2E3CC}" destId="{1192F4F0-FA57-4630-A170-F45E47111AE5}" srcOrd="0" destOrd="0" parTransId="{4F3B6F64-86D7-45DD-8222-9BC9181590DA}" sibTransId="{DACB33DA-D437-40FA-8F81-A6DC24446239}"/>
    <dgm:cxn modelId="{6277FF38-A094-4149-9D54-5BAF940817E4}" type="presOf" srcId="{9A706050-6B2F-4C69-8970-454E684B88B6}" destId="{A8F1686F-0707-456D-9F7D-F7239970FA29}" srcOrd="0" destOrd="0" presId="urn:microsoft.com/office/officeart/2005/8/layout/bProcess4"/>
    <dgm:cxn modelId="{710D5429-4890-41F1-929F-8E63335B8385}" type="presOf" srcId="{DB5905AB-2183-41E2-A0D5-01064A9368F3}" destId="{CBB78A34-261D-4A3F-B529-F72E5BF01D05}" srcOrd="0" destOrd="0" presId="urn:microsoft.com/office/officeart/2005/8/layout/bProcess4"/>
    <dgm:cxn modelId="{EE63CED3-EA74-44C5-AC3F-8729839E3715}" srcId="{E2099E9B-1E52-4C98-98BB-D8DDBFC2E3CC}" destId="{C56C6945-EA24-4CD1-8F72-DAAF8A75ACAA}" srcOrd="1" destOrd="0" parTransId="{C7F45AB2-E0F4-4580-B969-35CC39780352}" sibTransId="{BBA272A5-D96A-4F73-BE48-B7D0D1E8DD4F}"/>
    <dgm:cxn modelId="{F57E1361-C2F9-4746-820C-78FD7A4694D6}" type="presOf" srcId="{C56C6945-EA24-4CD1-8F72-DAAF8A75ACAA}" destId="{5762BA36-EFA9-4BDE-9928-25D18B8EC4E4}" srcOrd="0" destOrd="0" presId="urn:microsoft.com/office/officeart/2005/8/layout/bProcess4"/>
    <dgm:cxn modelId="{CDB18395-27E2-408C-80B9-9DCA7D1F34DD}" srcId="{E2099E9B-1E52-4C98-98BB-D8DDBFC2E3CC}" destId="{DB5905AB-2183-41E2-A0D5-01064A9368F3}" srcOrd="8" destOrd="0" parTransId="{770522C0-2A52-4DF7-90F1-C4F3EB7E3B21}" sibTransId="{0887B4A9-912E-4154-8E1E-2AB9B74308E9}"/>
    <dgm:cxn modelId="{2C52910E-C86A-4C15-BF44-0E056793AAFD}" srcId="{E2099E9B-1E52-4C98-98BB-D8DDBFC2E3CC}" destId="{AEB0912E-57E7-42FA-97F9-72F074FB1189}" srcOrd="7" destOrd="0" parTransId="{8609929E-7489-4409-9C4F-5A444057A802}" sibTransId="{BCDE2266-3B5E-45C8-9E7D-3C69BD2098DF}"/>
    <dgm:cxn modelId="{90D0C109-8E67-434A-A2B6-3723EA50A1CC}" srcId="{E2099E9B-1E52-4C98-98BB-D8DDBFC2E3CC}" destId="{EB0C611B-39C7-4FE9-B3CC-29328D2AF277}" srcOrd="3" destOrd="0" parTransId="{7C448212-F52A-45AA-BE67-C6C57C5369AC}" sibTransId="{48DCC8A4-CB7C-4C62-9661-2872A3F37B47}"/>
    <dgm:cxn modelId="{6C59B3D8-BF82-4295-80F1-492B0AD427BF}" type="presOf" srcId="{E2099E9B-1E52-4C98-98BB-D8DDBFC2E3CC}" destId="{81A12C5D-7233-4662-9D34-73097E08723A}" srcOrd="0" destOrd="0" presId="urn:microsoft.com/office/officeart/2005/8/layout/bProcess4"/>
    <dgm:cxn modelId="{6EE299F5-C7C4-4903-99C7-8C8FAF02CD3C}" type="presOf" srcId="{BBA272A5-D96A-4F73-BE48-B7D0D1E8DD4F}" destId="{DEF0D9CA-2937-4993-BB71-5020A492A06A}" srcOrd="0" destOrd="0" presId="urn:microsoft.com/office/officeart/2005/8/layout/bProcess4"/>
    <dgm:cxn modelId="{46A23D6F-B0EF-4DDF-B54F-89E8283EEA76}" srcId="{E2099E9B-1E52-4C98-98BB-D8DDBFC2E3CC}" destId="{186DC85C-9962-45A2-813F-D434CAFAF263}" srcOrd="6" destOrd="0" parTransId="{F569EDE3-70EA-4137-93A1-0B30535FEAA3}" sibTransId="{9A706050-6B2F-4C69-8970-454E684B88B6}"/>
    <dgm:cxn modelId="{F0AE5A79-2725-45B8-A20A-00407453DA08}" type="presOf" srcId="{54733E06-511B-4931-AF6A-4A152CEF426A}" destId="{ABE35F0C-4E28-456A-A879-9552EF557560}" srcOrd="0" destOrd="0" presId="urn:microsoft.com/office/officeart/2005/8/layout/bProcess4"/>
    <dgm:cxn modelId="{7E9107A7-90F1-47B5-B89D-6D7684E99032}" type="presOf" srcId="{DF8A2429-1B3A-44BF-8ED1-6D4A24FFC982}" destId="{7D39C1DA-0423-4F1A-B878-74279D89C51A}" srcOrd="0" destOrd="0" presId="urn:microsoft.com/office/officeart/2005/8/layout/bProcess4"/>
    <dgm:cxn modelId="{A6FAF7D6-229F-415D-9F70-AB74EC40F116}" type="presOf" srcId="{DBAA3649-6629-4780-BE93-3F2678E19DD2}" destId="{151353A4-ED70-4ACD-A43B-15BE7DF74A15}" srcOrd="0" destOrd="0" presId="urn:microsoft.com/office/officeart/2005/8/layout/bProcess4"/>
    <dgm:cxn modelId="{C06D29B3-D441-4EB9-A930-F9A9A31CD319}" type="presOf" srcId="{48DCC8A4-CB7C-4C62-9661-2872A3F37B47}" destId="{2943EFD1-D253-48D5-95D9-A694A849D7DB}" srcOrd="0" destOrd="0" presId="urn:microsoft.com/office/officeart/2005/8/layout/bProcess4"/>
    <dgm:cxn modelId="{8EDD745E-C387-425B-8D15-6AC6DAD08D9B}" type="presOf" srcId="{1192F4F0-FA57-4630-A170-F45E47111AE5}" destId="{4D7EA76F-C064-49EF-8AFC-3868360AEF07}" srcOrd="0" destOrd="0" presId="urn:microsoft.com/office/officeart/2005/8/layout/bProcess4"/>
    <dgm:cxn modelId="{6A94B023-840E-4E7A-8D63-79E67ED04D51}" srcId="{E2099E9B-1E52-4C98-98BB-D8DDBFC2E3CC}" destId="{74912DDC-3E70-4933-9934-9F8F98732229}" srcOrd="5" destOrd="0" parTransId="{4C939804-8E20-4B6E-BA28-97899AA790D3}" sibTransId="{DF8A2429-1B3A-44BF-8ED1-6D4A24FFC982}"/>
    <dgm:cxn modelId="{93CEBE4C-9819-47AE-AEBD-F00F9D8587C5}" srcId="{E2099E9B-1E52-4C98-98BB-D8DDBFC2E3CC}" destId="{79343CCA-3B0C-44B8-A00B-EEACC0A0791B}" srcOrd="2" destOrd="0" parTransId="{5EBE46C5-3707-46DA-8C9B-B3C7DE98E969}" sibTransId="{54733E06-511B-4931-AF6A-4A152CEF426A}"/>
    <dgm:cxn modelId="{B41B850F-A996-4E34-9250-78FB16D1D857}" type="presOf" srcId="{7066790E-74B1-4B17-BE51-BFA909A84E04}" destId="{1ADF6FF1-015F-4E57-9A44-229AB15BB891}" srcOrd="0" destOrd="0" presId="urn:microsoft.com/office/officeart/2005/8/layout/bProcess4"/>
    <dgm:cxn modelId="{CB0B637B-E31A-4463-B4B1-2DFB3B00102F}" type="presOf" srcId="{186DC85C-9962-45A2-813F-D434CAFAF263}" destId="{2F16D533-F0F7-4D6C-A8F6-6B7A08066E20}" srcOrd="0" destOrd="0" presId="urn:microsoft.com/office/officeart/2005/8/layout/bProcess4"/>
    <dgm:cxn modelId="{09918F53-7D68-41CC-AE23-A06E71B0E8E4}" type="presParOf" srcId="{81A12C5D-7233-4662-9D34-73097E08723A}" destId="{84DF19FB-83D1-4297-B7E7-77083E480073}" srcOrd="0" destOrd="0" presId="urn:microsoft.com/office/officeart/2005/8/layout/bProcess4"/>
    <dgm:cxn modelId="{A1CB24C1-26DE-418E-ACC3-B67EBEF21017}" type="presParOf" srcId="{84DF19FB-83D1-4297-B7E7-77083E480073}" destId="{6B0F0C82-9D76-4386-869D-959A4409867B}" srcOrd="0" destOrd="0" presId="urn:microsoft.com/office/officeart/2005/8/layout/bProcess4"/>
    <dgm:cxn modelId="{44057C82-075D-4420-AB88-B6BFC72202C6}" type="presParOf" srcId="{84DF19FB-83D1-4297-B7E7-77083E480073}" destId="{4D7EA76F-C064-49EF-8AFC-3868360AEF07}" srcOrd="1" destOrd="0" presId="urn:microsoft.com/office/officeart/2005/8/layout/bProcess4"/>
    <dgm:cxn modelId="{DDF0988F-4539-45F2-85E9-6B3DCBA78B6D}" type="presParOf" srcId="{81A12C5D-7233-4662-9D34-73097E08723A}" destId="{C910AE8D-B624-4066-913D-82A0512003C4}" srcOrd="1" destOrd="0" presId="urn:microsoft.com/office/officeart/2005/8/layout/bProcess4"/>
    <dgm:cxn modelId="{6436D7D5-DB8A-47A5-ACA8-345F8DFDE95C}" type="presParOf" srcId="{81A12C5D-7233-4662-9D34-73097E08723A}" destId="{9893B425-7AF2-44EA-83BB-9011327D6914}" srcOrd="2" destOrd="0" presId="urn:microsoft.com/office/officeart/2005/8/layout/bProcess4"/>
    <dgm:cxn modelId="{AD162A0D-0E58-4A62-91AA-17D378F50B9A}" type="presParOf" srcId="{9893B425-7AF2-44EA-83BB-9011327D6914}" destId="{0ED3F607-915A-43D2-BDAF-D3329453ECEB}" srcOrd="0" destOrd="0" presId="urn:microsoft.com/office/officeart/2005/8/layout/bProcess4"/>
    <dgm:cxn modelId="{BB47F230-6E58-407E-8679-81D0C391404C}" type="presParOf" srcId="{9893B425-7AF2-44EA-83BB-9011327D6914}" destId="{5762BA36-EFA9-4BDE-9928-25D18B8EC4E4}" srcOrd="1" destOrd="0" presId="urn:microsoft.com/office/officeart/2005/8/layout/bProcess4"/>
    <dgm:cxn modelId="{BB373532-9F1F-46CD-B14E-66D9555A640A}" type="presParOf" srcId="{81A12C5D-7233-4662-9D34-73097E08723A}" destId="{DEF0D9CA-2937-4993-BB71-5020A492A06A}" srcOrd="3" destOrd="0" presId="urn:microsoft.com/office/officeart/2005/8/layout/bProcess4"/>
    <dgm:cxn modelId="{41C2BE94-3650-43E5-A893-734472D5FE1A}" type="presParOf" srcId="{81A12C5D-7233-4662-9D34-73097E08723A}" destId="{366B7D48-6607-464B-8EEF-C527ED82FE9F}" srcOrd="4" destOrd="0" presId="urn:microsoft.com/office/officeart/2005/8/layout/bProcess4"/>
    <dgm:cxn modelId="{44D3765D-8BAF-4282-A65B-8DE4FA99CA2A}" type="presParOf" srcId="{366B7D48-6607-464B-8EEF-C527ED82FE9F}" destId="{970CEB34-F719-472B-B590-F19FBFAF5BEE}" srcOrd="0" destOrd="0" presId="urn:microsoft.com/office/officeart/2005/8/layout/bProcess4"/>
    <dgm:cxn modelId="{C64DE4F3-8E0F-4620-A6A7-79CDB3DC8A8B}" type="presParOf" srcId="{366B7D48-6607-464B-8EEF-C527ED82FE9F}" destId="{DFE929F3-F1EB-4E33-B6DC-D616C690BB18}" srcOrd="1" destOrd="0" presId="urn:microsoft.com/office/officeart/2005/8/layout/bProcess4"/>
    <dgm:cxn modelId="{F3AF3A99-F23A-4C6E-99D0-69C4D64BA2C8}" type="presParOf" srcId="{81A12C5D-7233-4662-9D34-73097E08723A}" destId="{ABE35F0C-4E28-456A-A879-9552EF557560}" srcOrd="5" destOrd="0" presId="urn:microsoft.com/office/officeart/2005/8/layout/bProcess4"/>
    <dgm:cxn modelId="{7B64C23E-DFED-45C1-A128-2F7186EAF101}" type="presParOf" srcId="{81A12C5D-7233-4662-9D34-73097E08723A}" destId="{B9D26EF1-B305-46E2-9F3C-F58C81868C34}" srcOrd="6" destOrd="0" presId="urn:microsoft.com/office/officeart/2005/8/layout/bProcess4"/>
    <dgm:cxn modelId="{6BB6433D-22E5-4857-9C23-947C66E7D566}" type="presParOf" srcId="{B9D26EF1-B305-46E2-9F3C-F58C81868C34}" destId="{5F3BBC51-583E-4024-B235-625C83901186}" srcOrd="0" destOrd="0" presId="urn:microsoft.com/office/officeart/2005/8/layout/bProcess4"/>
    <dgm:cxn modelId="{E01928EA-2C54-4F0C-AC08-6E09C2EF0406}" type="presParOf" srcId="{B9D26EF1-B305-46E2-9F3C-F58C81868C34}" destId="{308492C1-4849-45F3-9E2F-9AD196C43577}" srcOrd="1" destOrd="0" presId="urn:microsoft.com/office/officeart/2005/8/layout/bProcess4"/>
    <dgm:cxn modelId="{A40D2DAF-0B65-4C4B-86BE-4AF99D7BA5D9}" type="presParOf" srcId="{81A12C5D-7233-4662-9D34-73097E08723A}" destId="{2943EFD1-D253-48D5-95D9-A694A849D7DB}" srcOrd="7" destOrd="0" presId="urn:microsoft.com/office/officeart/2005/8/layout/bProcess4"/>
    <dgm:cxn modelId="{BF04582D-11CA-4A72-A039-FA07CDC0B274}" type="presParOf" srcId="{81A12C5D-7233-4662-9D34-73097E08723A}" destId="{88412258-B6CC-4DC0-9A8C-930810D901C3}" srcOrd="8" destOrd="0" presId="urn:microsoft.com/office/officeart/2005/8/layout/bProcess4"/>
    <dgm:cxn modelId="{7186D290-0600-46AA-A85B-D6907B2A413F}" type="presParOf" srcId="{88412258-B6CC-4DC0-9A8C-930810D901C3}" destId="{475C730D-9249-4EEE-80E2-60E51527D340}" srcOrd="0" destOrd="0" presId="urn:microsoft.com/office/officeart/2005/8/layout/bProcess4"/>
    <dgm:cxn modelId="{9EB6F0BE-CDBF-4C4D-8ED2-588AC19248A7}" type="presParOf" srcId="{88412258-B6CC-4DC0-9A8C-930810D901C3}" destId="{1ADF6FF1-015F-4E57-9A44-229AB15BB891}" srcOrd="1" destOrd="0" presId="urn:microsoft.com/office/officeart/2005/8/layout/bProcess4"/>
    <dgm:cxn modelId="{A3C40639-1E04-4F68-8FCD-B7B0E86B8FD7}" type="presParOf" srcId="{81A12C5D-7233-4662-9D34-73097E08723A}" destId="{151353A4-ED70-4ACD-A43B-15BE7DF74A15}" srcOrd="9" destOrd="0" presId="urn:microsoft.com/office/officeart/2005/8/layout/bProcess4"/>
    <dgm:cxn modelId="{186E48BE-808D-4457-A310-FC75CFB8CBE7}" type="presParOf" srcId="{81A12C5D-7233-4662-9D34-73097E08723A}" destId="{280B9175-CB74-4213-8E5A-896A777A98E8}" srcOrd="10" destOrd="0" presId="urn:microsoft.com/office/officeart/2005/8/layout/bProcess4"/>
    <dgm:cxn modelId="{A1E596DD-0B2B-49C1-A512-3502F0E88271}" type="presParOf" srcId="{280B9175-CB74-4213-8E5A-896A777A98E8}" destId="{26F1345C-9ED7-41DF-9D20-487432D40662}" srcOrd="0" destOrd="0" presId="urn:microsoft.com/office/officeart/2005/8/layout/bProcess4"/>
    <dgm:cxn modelId="{429D45C9-C80D-466F-A5D4-82BE9FA686C2}" type="presParOf" srcId="{280B9175-CB74-4213-8E5A-896A777A98E8}" destId="{1AB70730-DE4F-45BF-AC19-3E8ACDC3FCF7}" srcOrd="1" destOrd="0" presId="urn:microsoft.com/office/officeart/2005/8/layout/bProcess4"/>
    <dgm:cxn modelId="{A2C31711-E5A2-4D63-B1E1-62CBA30E80A6}" type="presParOf" srcId="{81A12C5D-7233-4662-9D34-73097E08723A}" destId="{7D39C1DA-0423-4F1A-B878-74279D89C51A}" srcOrd="11" destOrd="0" presId="urn:microsoft.com/office/officeart/2005/8/layout/bProcess4"/>
    <dgm:cxn modelId="{2DF802D6-24C8-46D5-9880-9B3D2E7530F8}" type="presParOf" srcId="{81A12C5D-7233-4662-9D34-73097E08723A}" destId="{54000CC0-48B7-46AA-920D-D19E4E40E878}" srcOrd="12" destOrd="0" presId="urn:microsoft.com/office/officeart/2005/8/layout/bProcess4"/>
    <dgm:cxn modelId="{3E11969B-A0B2-4B9E-9E2C-68003E663AED}" type="presParOf" srcId="{54000CC0-48B7-46AA-920D-D19E4E40E878}" destId="{4DFE7203-6C1C-4FCF-9BA8-7E457641868C}" srcOrd="0" destOrd="0" presId="urn:microsoft.com/office/officeart/2005/8/layout/bProcess4"/>
    <dgm:cxn modelId="{22AEEEC4-6396-4D8F-B291-31C9A03C2DE9}" type="presParOf" srcId="{54000CC0-48B7-46AA-920D-D19E4E40E878}" destId="{2F16D533-F0F7-4D6C-A8F6-6B7A08066E20}" srcOrd="1" destOrd="0" presId="urn:microsoft.com/office/officeart/2005/8/layout/bProcess4"/>
    <dgm:cxn modelId="{5DA10887-C421-4D7E-9268-A304A34A615D}" type="presParOf" srcId="{81A12C5D-7233-4662-9D34-73097E08723A}" destId="{A8F1686F-0707-456D-9F7D-F7239970FA29}" srcOrd="13" destOrd="0" presId="urn:microsoft.com/office/officeart/2005/8/layout/bProcess4"/>
    <dgm:cxn modelId="{D814CB02-FBF4-4B6E-A401-8F82A64B6922}" type="presParOf" srcId="{81A12C5D-7233-4662-9D34-73097E08723A}" destId="{56BB8644-71E1-4329-A32C-0D4E9C72ED7D}" srcOrd="14" destOrd="0" presId="urn:microsoft.com/office/officeart/2005/8/layout/bProcess4"/>
    <dgm:cxn modelId="{417E5DAA-83BE-4183-ACFC-8A9DFFDB7414}" type="presParOf" srcId="{56BB8644-71E1-4329-A32C-0D4E9C72ED7D}" destId="{34291B4D-8C18-48AA-835E-D2AE56EFA013}" srcOrd="0" destOrd="0" presId="urn:microsoft.com/office/officeart/2005/8/layout/bProcess4"/>
    <dgm:cxn modelId="{86130809-1B1C-472B-BF73-025AA60065B7}" type="presParOf" srcId="{56BB8644-71E1-4329-A32C-0D4E9C72ED7D}" destId="{8007E9BB-788C-44B4-B2D9-149C2CE7002B}" srcOrd="1" destOrd="0" presId="urn:microsoft.com/office/officeart/2005/8/layout/bProcess4"/>
    <dgm:cxn modelId="{C3D3C9C4-C5A3-49DD-8AB6-75003BB10BDA}" type="presParOf" srcId="{81A12C5D-7233-4662-9D34-73097E08723A}" destId="{5D90366A-F553-4618-9355-E0DA9DF954A2}" srcOrd="15" destOrd="0" presId="urn:microsoft.com/office/officeart/2005/8/layout/bProcess4"/>
    <dgm:cxn modelId="{ADFD4641-36BD-4EC7-A6D2-4E0756707945}" type="presParOf" srcId="{81A12C5D-7233-4662-9D34-73097E08723A}" destId="{E520604D-F27F-4F77-9FA0-17BF9C3E635F}" srcOrd="16" destOrd="0" presId="urn:microsoft.com/office/officeart/2005/8/layout/bProcess4"/>
    <dgm:cxn modelId="{105F5681-FF61-47D2-83C5-0FD0BE233AF5}" type="presParOf" srcId="{E520604D-F27F-4F77-9FA0-17BF9C3E635F}" destId="{EBDDAF38-69BE-4459-86A1-E8F9E2E2ECA9}" srcOrd="0" destOrd="0" presId="urn:microsoft.com/office/officeart/2005/8/layout/bProcess4"/>
    <dgm:cxn modelId="{22CB7493-FCB6-4D5D-93B5-D45849F3F6EB}" type="presParOf" srcId="{E520604D-F27F-4F77-9FA0-17BF9C3E635F}" destId="{CBB78A34-261D-4A3F-B529-F72E5BF01D05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EE9ACE-AF24-4F3B-832C-AEBC82EE1C9E}">
      <dsp:nvSpPr>
        <dsp:cNvPr id="0" name=""/>
        <dsp:cNvSpPr/>
      </dsp:nvSpPr>
      <dsp:spPr>
        <a:xfrm>
          <a:off x="2606655" y="1618323"/>
          <a:ext cx="2056959" cy="1779353"/>
        </a:xfrm>
        <a:prstGeom prst="hexagon">
          <a:avLst>
            <a:gd name="adj" fmla="val 28570"/>
            <a:gd name="vf" fmla="val 11547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chemeClr val="tx1"/>
              </a:solidFill>
            </a:rPr>
            <a:t>I.P.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chemeClr val="tx1"/>
              </a:solidFill>
            </a:rPr>
            <a:t>Rights</a:t>
          </a:r>
          <a:endParaRPr lang="en-US" sz="2200" kern="1200" dirty="0">
            <a:solidFill>
              <a:schemeClr val="tx1"/>
            </a:solidFill>
          </a:endParaRPr>
        </a:p>
      </dsp:txBody>
      <dsp:txXfrm>
        <a:off x="2947522" y="1913187"/>
        <a:ext cx="1375225" cy="1189625"/>
      </dsp:txXfrm>
    </dsp:sp>
    <dsp:sp modelId="{E2F36566-F1A4-40C8-A82F-371E398BAE12}">
      <dsp:nvSpPr>
        <dsp:cNvPr id="0" name=""/>
        <dsp:cNvSpPr/>
      </dsp:nvSpPr>
      <dsp:spPr>
        <a:xfrm>
          <a:off x="3894707" y="767023"/>
          <a:ext cx="776084" cy="66869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D24DAA-E3F2-418A-9B66-3D65EF90B391}">
      <dsp:nvSpPr>
        <dsp:cNvPr id="0" name=""/>
        <dsp:cNvSpPr/>
      </dsp:nvSpPr>
      <dsp:spPr>
        <a:xfrm>
          <a:off x="2796131" y="0"/>
          <a:ext cx="1685664" cy="1458297"/>
        </a:xfrm>
        <a:prstGeom prst="hexagon">
          <a:avLst>
            <a:gd name="adj" fmla="val 28570"/>
            <a:gd name="vf" fmla="val 115470"/>
          </a:avLst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Make Copies</a:t>
          </a:r>
          <a:endParaRPr lang="en-US" sz="2200" kern="1200" dirty="0"/>
        </a:p>
      </dsp:txBody>
      <dsp:txXfrm>
        <a:off x="3075481" y="241671"/>
        <a:ext cx="1126964" cy="974955"/>
      </dsp:txXfrm>
    </dsp:sp>
    <dsp:sp modelId="{42B47350-C32F-47CA-99A7-1B15FDA2D909}">
      <dsp:nvSpPr>
        <dsp:cNvPr id="0" name=""/>
        <dsp:cNvSpPr/>
      </dsp:nvSpPr>
      <dsp:spPr>
        <a:xfrm>
          <a:off x="4800459" y="2017135"/>
          <a:ext cx="776084" cy="66869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1513F3-FDAB-417D-86DE-75AAE84FE0CE}">
      <dsp:nvSpPr>
        <dsp:cNvPr id="0" name=""/>
        <dsp:cNvSpPr/>
      </dsp:nvSpPr>
      <dsp:spPr>
        <a:xfrm>
          <a:off x="4342081" y="896950"/>
          <a:ext cx="1685664" cy="1458297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Modify</a:t>
          </a:r>
          <a:endParaRPr lang="en-US" sz="2200" kern="1200" dirty="0"/>
        </a:p>
      </dsp:txBody>
      <dsp:txXfrm>
        <a:off x="4621431" y="1138621"/>
        <a:ext cx="1126964" cy="974955"/>
      </dsp:txXfrm>
    </dsp:sp>
    <dsp:sp modelId="{77574628-DA43-4B02-AAD5-26E1FA28E009}">
      <dsp:nvSpPr>
        <dsp:cNvPr id="0" name=""/>
        <dsp:cNvSpPr/>
      </dsp:nvSpPr>
      <dsp:spPr>
        <a:xfrm>
          <a:off x="4171265" y="3428278"/>
          <a:ext cx="776084" cy="66869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BAD456-5A18-4F92-A3E1-5E988C4AB8F9}">
      <dsp:nvSpPr>
        <dsp:cNvPr id="0" name=""/>
        <dsp:cNvSpPr/>
      </dsp:nvSpPr>
      <dsp:spPr>
        <a:xfrm>
          <a:off x="4342081" y="2660251"/>
          <a:ext cx="1685664" cy="1458297"/>
        </a:xfrm>
        <a:prstGeom prst="hexagon">
          <a:avLst>
            <a:gd name="adj" fmla="val 28570"/>
            <a:gd name="vf" fmla="val 115470"/>
          </a:avLst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Display</a:t>
          </a:r>
          <a:endParaRPr lang="en-US" sz="2200" kern="1200" dirty="0"/>
        </a:p>
      </dsp:txBody>
      <dsp:txXfrm>
        <a:off x="4621431" y="2901922"/>
        <a:ext cx="1126964" cy="974955"/>
      </dsp:txXfrm>
    </dsp:sp>
    <dsp:sp modelId="{E7C51777-F32A-4925-A8E5-311806555999}">
      <dsp:nvSpPr>
        <dsp:cNvPr id="0" name=""/>
        <dsp:cNvSpPr/>
      </dsp:nvSpPr>
      <dsp:spPr>
        <a:xfrm>
          <a:off x="2610483" y="3574760"/>
          <a:ext cx="776084" cy="66869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8567F0-A5AF-4CCD-98E4-A8C654CCC8E1}">
      <dsp:nvSpPr>
        <dsp:cNvPr id="0" name=""/>
        <dsp:cNvSpPr/>
      </dsp:nvSpPr>
      <dsp:spPr>
        <a:xfrm>
          <a:off x="2796131" y="3558205"/>
          <a:ext cx="1685664" cy="1458297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erform</a:t>
          </a:r>
          <a:endParaRPr lang="en-US" sz="2200" kern="1200" dirty="0"/>
        </a:p>
      </dsp:txBody>
      <dsp:txXfrm>
        <a:off x="3075481" y="3799876"/>
        <a:ext cx="1126964" cy="974955"/>
      </dsp:txXfrm>
    </dsp:sp>
    <dsp:sp modelId="{65A459C1-B1C5-497D-8A4B-D349301F350E}">
      <dsp:nvSpPr>
        <dsp:cNvPr id="0" name=""/>
        <dsp:cNvSpPr/>
      </dsp:nvSpPr>
      <dsp:spPr>
        <a:xfrm>
          <a:off x="1689899" y="2325149"/>
          <a:ext cx="776084" cy="668699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9ED708-6B34-4019-88EB-8E6E994D8043}">
      <dsp:nvSpPr>
        <dsp:cNvPr id="0" name=""/>
        <dsp:cNvSpPr/>
      </dsp:nvSpPr>
      <dsp:spPr>
        <a:xfrm>
          <a:off x="1243004" y="2661254"/>
          <a:ext cx="1685664" cy="1458297"/>
        </a:xfrm>
        <a:prstGeom prst="hexagon">
          <a:avLst>
            <a:gd name="adj" fmla="val 28570"/>
            <a:gd name="vf" fmla="val 115470"/>
          </a:avLst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Use</a:t>
          </a:r>
          <a:endParaRPr lang="en-US" sz="2200" kern="1200" dirty="0"/>
        </a:p>
      </dsp:txBody>
      <dsp:txXfrm>
        <a:off x="1522354" y="2902925"/>
        <a:ext cx="1126964" cy="974955"/>
      </dsp:txXfrm>
    </dsp:sp>
    <dsp:sp modelId="{06CB8CD5-408F-4862-BE7F-824487A73393}">
      <dsp:nvSpPr>
        <dsp:cNvPr id="0" name=""/>
        <dsp:cNvSpPr/>
      </dsp:nvSpPr>
      <dsp:spPr>
        <a:xfrm>
          <a:off x="1243004" y="894944"/>
          <a:ext cx="1685664" cy="1458297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Disclose to Third Parties</a:t>
          </a:r>
          <a:endParaRPr lang="en-US" sz="2200" kern="1200" dirty="0"/>
        </a:p>
      </dsp:txBody>
      <dsp:txXfrm>
        <a:off x="1522354" y="1136615"/>
        <a:ext cx="1126964" cy="974955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756296-C542-4FE7-9314-85298BD39BAA}">
      <dsp:nvSpPr>
        <dsp:cNvPr id="0" name=""/>
        <dsp:cNvSpPr/>
      </dsp:nvSpPr>
      <dsp:spPr>
        <a:xfrm>
          <a:off x="1449387" y="0"/>
          <a:ext cx="4749800" cy="47498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2.0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237489"/>
        <a:ext cx="1328044" cy="712470"/>
      </dsp:txXfrm>
    </dsp:sp>
    <dsp:sp modelId="{BA170D82-FF0A-47CB-BE71-7DB123384C1A}">
      <dsp:nvSpPr>
        <dsp:cNvPr id="0" name=""/>
        <dsp:cNvSpPr/>
      </dsp:nvSpPr>
      <dsp:spPr>
        <a:xfrm>
          <a:off x="1924367" y="949959"/>
          <a:ext cx="3799840" cy="37998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2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1177950"/>
        <a:ext cx="1328044" cy="683971"/>
      </dsp:txXfrm>
    </dsp:sp>
    <dsp:sp modelId="{784EB3D6-C134-4BD3-A583-A1DF7303C402}">
      <dsp:nvSpPr>
        <dsp:cNvPr id="0" name=""/>
        <dsp:cNvSpPr/>
      </dsp:nvSpPr>
      <dsp:spPr>
        <a:xfrm>
          <a:off x="2399347" y="1899919"/>
          <a:ext cx="2849880" cy="284988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1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2113660"/>
        <a:ext cx="1328044" cy="641223"/>
      </dsp:txXfrm>
    </dsp:sp>
    <dsp:sp modelId="{B7DEB214-447C-4F57-80FE-850408C5D86A}">
      <dsp:nvSpPr>
        <dsp:cNvPr id="0" name=""/>
        <dsp:cNvSpPr/>
      </dsp:nvSpPr>
      <dsp:spPr>
        <a:xfrm>
          <a:off x="2874327" y="2849879"/>
          <a:ext cx="1899920" cy="189992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0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52564" y="3324860"/>
        <a:ext cx="1343446" cy="94996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756296-C542-4FE7-9314-85298BD39BAA}">
      <dsp:nvSpPr>
        <dsp:cNvPr id="0" name=""/>
        <dsp:cNvSpPr/>
      </dsp:nvSpPr>
      <dsp:spPr>
        <a:xfrm>
          <a:off x="1449387" y="0"/>
          <a:ext cx="4749800" cy="4749800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2.0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237489"/>
        <a:ext cx="1328044" cy="712470"/>
      </dsp:txXfrm>
    </dsp:sp>
    <dsp:sp modelId="{BA170D82-FF0A-47CB-BE71-7DB123384C1A}">
      <dsp:nvSpPr>
        <dsp:cNvPr id="0" name=""/>
        <dsp:cNvSpPr/>
      </dsp:nvSpPr>
      <dsp:spPr>
        <a:xfrm>
          <a:off x="1924367" y="949959"/>
          <a:ext cx="3799840" cy="3799840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1"/>
              </a:solidFill>
              <a:latin typeface="Calibri" panose="020F0502020204030204" pitchFamily="34" charset="0"/>
            </a:rPr>
            <a:t>1.2</a:t>
          </a:r>
          <a:endParaRPr lang="en-US" sz="2800" kern="1200" dirty="0">
            <a:solidFill>
              <a:schemeClr val="tx1"/>
            </a:solidFill>
            <a:latin typeface="Calibri" panose="020F0502020204030204" pitchFamily="34" charset="0"/>
          </a:endParaRPr>
        </a:p>
      </dsp:txBody>
      <dsp:txXfrm>
        <a:off x="3160265" y="1177950"/>
        <a:ext cx="1328044" cy="683971"/>
      </dsp:txXfrm>
    </dsp:sp>
    <dsp:sp modelId="{784EB3D6-C134-4BD3-A583-A1DF7303C402}">
      <dsp:nvSpPr>
        <dsp:cNvPr id="0" name=""/>
        <dsp:cNvSpPr/>
      </dsp:nvSpPr>
      <dsp:spPr>
        <a:xfrm>
          <a:off x="2399347" y="1899919"/>
          <a:ext cx="2849880" cy="2849880"/>
        </a:xfrm>
        <a:prstGeom prst="ellipse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1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2113660"/>
        <a:ext cx="1328044" cy="641223"/>
      </dsp:txXfrm>
    </dsp:sp>
    <dsp:sp modelId="{B7DEB214-447C-4F57-80FE-850408C5D86A}">
      <dsp:nvSpPr>
        <dsp:cNvPr id="0" name=""/>
        <dsp:cNvSpPr/>
      </dsp:nvSpPr>
      <dsp:spPr>
        <a:xfrm>
          <a:off x="2874327" y="2849879"/>
          <a:ext cx="1899920" cy="189992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0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52564" y="3324860"/>
        <a:ext cx="1343446" cy="9499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8DC2F4-B825-4280-A0A1-5ED9A82EEFCD}">
      <dsp:nvSpPr>
        <dsp:cNvPr id="0" name=""/>
        <dsp:cNvSpPr/>
      </dsp:nvSpPr>
      <dsp:spPr>
        <a:xfrm>
          <a:off x="7579" y="442301"/>
          <a:ext cx="2265300" cy="13591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Structural Design of Technology</a:t>
          </a:r>
          <a:endParaRPr lang="en-US" sz="2600" kern="1200" dirty="0"/>
        </a:p>
      </dsp:txBody>
      <dsp:txXfrm>
        <a:off x="47388" y="482110"/>
        <a:ext cx="2185682" cy="1279562"/>
      </dsp:txXfrm>
    </dsp:sp>
    <dsp:sp modelId="{2AD5DB63-E5E4-4F73-9E69-49DC9F36702E}">
      <dsp:nvSpPr>
        <dsp:cNvPr id="0" name=""/>
        <dsp:cNvSpPr/>
      </dsp:nvSpPr>
      <dsp:spPr>
        <a:xfrm>
          <a:off x="2499409" y="840994"/>
          <a:ext cx="480243" cy="5617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/>
        </a:p>
      </dsp:txBody>
      <dsp:txXfrm>
        <a:off x="2499409" y="953353"/>
        <a:ext cx="336170" cy="337076"/>
      </dsp:txXfrm>
    </dsp:sp>
    <dsp:sp modelId="{E8DFCEE2-E27D-4221-A2BD-FCB3395102A3}">
      <dsp:nvSpPr>
        <dsp:cNvPr id="0" name=""/>
        <dsp:cNvSpPr/>
      </dsp:nvSpPr>
      <dsp:spPr>
        <a:xfrm>
          <a:off x="3178999" y="442301"/>
          <a:ext cx="2265300" cy="13591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Development Plan</a:t>
          </a:r>
          <a:endParaRPr lang="en-US" sz="2600" kern="1200" dirty="0"/>
        </a:p>
      </dsp:txBody>
      <dsp:txXfrm>
        <a:off x="3218808" y="482110"/>
        <a:ext cx="2185682" cy="1279562"/>
      </dsp:txXfrm>
    </dsp:sp>
    <dsp:sp modelId="{AF99BD0A-961F-4FA4-8DB5-C8E14357CE4A}">
      <dsp:nvSpPr>
        <dsp:cNvPr id="0" name=""/>
        <dsp:cNvSpPr/>
      </dsp:nvSpPr>
      <dsp:spPr>
        <a:xfrm>
          <a:off x="5670830" y="840994"/>
          <a:ext cx="480243" cy="5617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/>
        </a:p>
      </dsp:txBody>
      <dsp:txXfrm>
        <a:off x="5670830" y="953353"/>
        <a:ext cx="336170" cy="337076"/>
      </dsp:txXfrm>
    </dsp:sp>
    <dsp:sp modelId="{8DE2D0DA-2CBB-4E98-BE9B-C67555D60024}">
      <dsp:nvSpPr>
        <dsp:cNvPr id="0" name=""/>
        <dsp:cNvSpPr/>
      </dsp:nvSpPr>
      <dsp:spPr>
        <a:xfrm>
          <a:off x="6350420" y="442301"/>
          <a:ext cx="2265300" cy="13591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Time and cost of Development</a:t>
          </a:r>
          <a:endParaRPr lang="en-US" sz="2600" kern="1200" dirty="0"/>
        </a:p>
      </dsp:txBody>
      <dsp:txXfrm>
        <a:off x="6390229" y="482110"/>
        <a:ext cx="2185682" cy="127956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8DC2F4-B825-4280-A0A1-5ED9A82EEFCD}">
      <dsp:nvSpPr>
        <dsp:cNvPr id="0" name=""/>
        <dsp:cNvSpPr/>
      </dsp:nvSpPr>
      <dsp:spPr>
        <a:xfrm>
          <a:off x="7389" y="258028"/>
          <a:ext cx="2208584" cy="13251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Proposal Writing</a:t>
          </a:r>
          <a:endParaRPr lang="en-US" sz="2900" kern="1200" dirty="0"/>
        </a:p>
      </dsp:txBody>
      <dsp:txXfrm>
        <a:off x="46201" y="296840"/>
        <a:ext cx="2130960" cy="1247526"/>
      </dsp:txXfrm>
    </dsp:sp>
    <dsp:sp modelId="{2AD5DB63-E5E4-4F73-9E69-49DC9F36702E}">
      <dsp:nvSpPr>
        <dsp:cNvPr id="0" name=""/>
        <dsp:cNvSpPr/>
      </dsp:nvSpPr>
      <dsp:spPr>
        <a:xfrm>
          <a:off x="2436832" y="646739"/>
          <a:ext cx="468219" cy="5477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300" kern="1200"/>
        </a:p>
      </dsp:txBody>
      <dsp:txXfrm>
        <a:off x="2436832" y="756285"/>
        <a:ext cx="327753" cy="328636"/>
      </dsp:txXfrm>
    </dsp:sp>
    <dsp:sp modelId="{E8DFCEE2-E27D-4221-A2BD-FCB3395102A3}">
      <dsp:nvSpPr>
        <dsp:cNvPr id="0" name=""/>
        <dsp:cNvSpPr/>
      </dsp:nvSpPr>
      <dsp:spPr>
        <a:xfrm>
          <a:off x="3099407" y="258028"/>
          <a:ext cx="2208584" cy="13251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Delivery &amp; Marking</a:t>
          </a:r>
          <a:endParaRPr lang="en-US" sz="2900" kern="1200" dirty="0"/>
        </a:p>
      </dsp:txBody>
      <dsp:txXfrm>
        <a:off x="3138219" y="296840"/>
        <a:ext cx="2130960" cy="1247526"/>
      </dsp:txXfrm>
    </dsp:sp>
    <dsp:sp modelId="{AF99BD0A-961F-4FA4-8DB5-C8E14357CE4A}">
      <dsp:nvSpPr>
        <dsp:cNvPr id="0" name=""/>
        <dsp:cNvSpPr/>
      </dsp:nvSpPr>
      <dsp:spPr>
        <a:xfrm>
          <a:off x="5528850" y="646739"/>
          <a:ext cx="468219" cy="547728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300" kern="1200"/>
        </a:p>
      </dsp:txBody>
      <dsp:txXfrm>
        <a:off x="5528850" y="756285"/>
        <a:ext cx="327753" cy="328636"/>
      </dsp:txXfrm>
    </dsp:sp>
    <dsp:sp modelId="{8DE2D0DA-2CBB-4E98-BE9B-C67555D60024}">
      <dsp:nvSpPr>
        <dsp:cNvPr id="0" name=""/>
        <dsp:cNvSpPr/>
      </dsp:nvSpPr>
      <dsp:spPr>
        <a:xfrm>
          <a:off x="6191426" y="258028"/>
          <a:ext cx="2208584" cy="13251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Maintaining “Inventory”</a:t>
          </a:r>
          <a:endParaRPr lang="en-US" sz="2900" kern="1200" dirty="0"/>
        </a:p>
      </dsp:txBody>
      <dsp:txXfrm>
        <a:off x="6230238" y="296840"/>
        <a:ext cx="2130960" cy="124752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10AE8D-B624-4066-913D-82A0512003C4}">
      <dsp:nvSpPr>
        <dsp:cNvPr id="0" name=""/>
        <dsp:cNvSpPr/>
      </dsp:nvSpPr>
      <dsp:spPr>
        <a:xfrm rot="5400000">
          <a:off x="-335913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7EA76F-C064-49EF-8AFC-3868360AEF07}">
      <dsp:nvSpPr>
        <dsp:cNvPr id="0" name=""/>
        <dsp:cNvSpPr/>
      </dsp:nvSpPr>
      <dsp:spPr>
        <a:xfrm>
          <a:off x="3679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38767" y="262677"/>
        <a:ext cx="1926502" cy="1127830"/>
      </dsp:txXfrm>
    </dsp:sp>
    <dsp:sp modelId="{DEF0D9CA-2937-4993-BB71-5020A492A06A}">
      <dsp:nvSpPr>
        <dsp:cNvPr id="0" name=""/>
        <dsp:cNvSpPr/>
      </dsp:nvSpPr>
      <dsp:spPr>
        <a:xfrm rot="5400000">
          <a:off x="-335913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62BA36-EFA9-4BDE-9928-25D18B8EC4E4}">
      <dsp:nvSpPr>
        <dsp:cNvPr id="0" name=""/>
        <dsp:cNvSpPr/>
      </dsp:nvSpPr>
      <dsp:spPr>
        <a:xfrm>
          <a:off x="3679" y="1725098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38767" y="1760186"/>
        <a:ext cx="1926502" cy="1127830"/>
      </dsp:txXfrm>
    </dsp:sp>
    <dsp:sp modelId="{ABE35F0C-4E28-456A-A879-9552EF557560}">
      <dsp:nvSpPr>
        <dsp:cNvPr id="0" name=""/>
        <dsp:cNvSpPr/>
      </dsp:nvSpPr>
      <dsp:spPr>
        <a:xfrm>
          <a:off x="412840" y="3427187"/>
          <a:ext cx="2645755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E929F3-F1EB-4E33-B6DC-D616C690BB18}">
      <dsp:nvSpPr>
        <dsp:cNvPr id="0" name=""/>
        <dsp:cNvSpPr/>
      </dsp:nvSpPr>
      <dsp:spPr>
        <a:xfrm>
          <a:off x="3679" y="3222606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38767" y="3257694"/>
        <a:ext cx="1926502" cy="1127830"/>
      </dsp:txXfrm>
    </dsp:sp>
    <dsp:sp modelId="{2943EFD1-D253-48D5-95D9-A694A849D7DB}">
      <dsp:nvSpPr>
        <dsp:cNvPr id="0" name=""/>
        <dsp:cNvSpPr/>
      </dsp:nvSpPr>
      <dsp:spPr>
        <a:xfrm rot="16200000">
          <a:off x="2319668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8492C1-4849-45F3-9E2F-9AD196C43577}">
      <dsp:nvSpPr>
        <dsp:cNvPr id="0" name=""/>
        <dsp:cNvSpPr/>
      </dsp:nvSpPr>
      <dsp:spPr>
        <a:xfrm>
          <a:off x="2659260" y="3222606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2694348" y="3257694"/>
        <a:ext cx="1926502" cy="1127830"/>
      </dsp:txXfrm>
    </dsp:sp>
    <dsp:sp modelId="{151353A4-ED70-4ACD-A43B-15BE7DF74A15}">
      <dsp:nvSpPr>
        <dsp:cNvPr id="0" name=""/>
        <dsp:cNvSpPr/>
      </dsp:nvSpPr>
      <dsp:spPr>
        <a:xfrm rot="16200000">
          <a:off x="2319668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DF6FF1-015F-4E57-9A44-229AB15BB891}">
      <dsp:nvSpPr>
        <dsp:cNvPr id="0" name=""/>
        <dsp:cNvSpPr/>
      </dsp:nvSpPr>
      <dsp:spPr>
        <a:xfrm>
          <a:off x="2659260" y="1725098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2694348" y="1760186"/>
        <a:ext cx="1926502" cy="1127830"/>
      </dsp:txXfrm>
    </dsp:sp>
    <dsp:sp modelId="{7D39C1DA-0423-4F1A-B878-74279D89C51A}">
      <dsp:nvSpPr>
        <dsp:cNvPr id="0" name=""/>
        <dsp:cNvSpPr/>
      </dsp:nvSpPr>
      <dsp:spPr>
        <a:xfrm>
          <a:off x="3068422" y="432170"/>
          <a:ext cx="2645755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B70730-DE4F-45BF-AC19-3E8ACDC3FCF7}">
      <dsp:nvSpPr>
        <dsp:cNvPr id="0" name=""/>
        <dsp:cNvSpPr/>
      </dsp:nvSpPr>
      <dsp:spPr>
        <a:xfrm>
          <a:off x="2659260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2694348" y="262677"/>
        <a:ext cx="1926502" cy="1127830"/>
      </dsp:txXfrm>
    </dsp:sp>
    <dsp:sp modelId="{A8F1686F-0707-456D-9F7D-F7239970FA29}">
      <dsp:nvSpPr>
        <dsp:cNvPr id="0" name=""/>
        <dsp:cNvSpPr/>
      </dsp:nvSpPr>
      <dsp:spPr>
        <a:xfrm rot="5400000">
          <a:off x="4975250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16D533-F0F7-4D6C-A8F6-6B7A08066E20}">
      <dsp:nvSpPr>
        <dsp:cNvPr id="0" name=""/>
        <dsp:cNvSpPr/>
      </dsp:nvSpPr>
      <dsp:spPr>
        <a:xfrm>
          <a:off x="5314842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5349930" y="262677"/>
        <a:ext cx="1926502" cy="1127830"/>
      </dsp:txXfrm>
    </dsp:sp>
    <dsp:sp modelId="{5D90366A-F553-4618-9355-E0DA9DF954A2}">
      <dsp:nvSpPr>
        <dsp:cNvPr id="0" name=""/>
        <dsp:cNvSpPr/>
      </dsp:nvSpPr>
      <dsp:spPr>
        <a:xfrm rot="5400000">
          <a:off x="4975250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07E9BB-788C-44B4-B2D9-149C2CE7002B}">
      <dsp:nvSpPr>
        <dsp:cNvPr id="0" name=""/>
        <dsp:cNvSpPr/>
      </dsp:nvSpPr>
      <dsp:spPr>
        <a:xfrm>
          <a:off x="5314842" y="1725098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5349930" y="1760186"/>
        <a:ext cx="1926502" cy="1127830"/>
      </dsp:txXfrm>
    </dsp:sp>
    <dsp:sp modelId="{CBB78A34-261D-4A3F-B529-F72E5BF01D05}">
      <dsp:nvSpPr>
        <dsp:cNvPr id="0" name=""/>
        <dsp:cNvSpPr/>
      </dsp:nvSpPr>
      <dsp:spPr>
        <a:xfrm>
          <a:off x="5314842" y="3222606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5349930" y="3257694"/>
        <a:ext cx="1926502" cy="112783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10AE8D-B624-4066-913D-82A0512003C4}">
      <dsp:nvSpPr>
        <dsp:cNvPr id="0" name=""/>
        <dsp:cNvSpPr/>
      </dsp:nvSpPr>
      <dsp:spPr>
        <a:xfrm rot="5400000">
          <a:off x="-335913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7EA76F-C064-49EF-8AFC-3868360AEF07}">
      <dsp:nvSpPr>
        <dsp:cNvPr id="0" name=""/>
        <dsp:cNvSpPr/>
      </dsp:nvSpPr>
      <dsp:spPr>
        <a:xfrm>
          <a:off x="3679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38767" y="262677"/>
        <a:ext cx="1926502" cy="1127830"/>
      </dsp:txXfrm>
    </dsp:sp>
    <dsp:sp modelId="{DEF0D9CA-2937-4993-BB71-5020A492A06A}">
      <dsp:nvSpPr>
        <dsp:cNvPr id="0" name=""/>
        <dsp:cNvSpPr/>
      </dsp:nvSpPr>
      <dsp:spPr>
        <a:xfrm rot="5400000">
          <a:off x="-335913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62BA36-EFA9-4BDE-9928-25D18B8EC4E4}">
      <dsp:nvSpPr>
        <dsp:cNvPr id="0" name=""/>
        <dsp:cNvSpPr/>
      </dsp:nvSpPr>
      <dsp:spPr>
        <a:xfrm>
          <a:off x="3679" y="1725098"/>
          <a:ext cx="1996678" cy="1198006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chemeClr val="tx1"/>
              </a:solidFill>
            </a:rPr>
            <a:t>Sub-system</a:t>
          </a:r>
          <a:endParaRPr lang="en-US" sz="3300" kern="1200" dirty="0">
            <a:solidFill>
              <a:schemeClr val="tx1"/>
            </a:solidFill>
          </a:endParaRPr>
        </a:p>
      </dsp:txBody>
      <dsp:txXfrm>
        <a:off x="38767" y="1760186"/>
        <a:ext cx="1926502" cy="1127830"/>
      </dsp:txXfrm>
    </dsp:sp>
    <dsp:sp modelId="{ABE35F0C-4E28-456A-A879-9552EF557560}">
      <dsp:nvSpPr>
        <dsp:cNvPr id="0" name=""/>
        <dsp:cNvSpPr/>
      </dsp:nvSpPr>
      <dsp:spPr>
        <a:xfrm>
          <a:off x="412840" y="3427187"/>
          <a:ext cx="2645755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E929F3-F1EB-4E33-B6DC-D616C690BB18}">
      <dsp:nvSpPr>
        <dsp:cNvPr id="0" name=""/>
        <dsp:cNvSpPr/>
      </dsp:nvSpPr>
      <dsp:spPr>
        <a:xfrm>
          <a:off x="3679" y="3222606"/>
          <a:ext cx="1996678" cy="1198006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38767" y="3257694"/>
        <a:ext cx="1926502" cy="1127830"/>
      </dsp:txXfrm>
    </dsp:sp>
    <dsp:sp modelId="{2943EFD1-D253-48D5-95D9-A694A849D7DB}">
      <dsp:nvSpPr>
        <dsp:cNvPr id="0" name=""/>
        <dsp:cNvSpPr/>
      </dsp:nvSpPr>
      <dsp:spPr>
        <a:xfrm rot="16200000">
          <a:off x="2319668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8492C1-4849-45F3-9E2F-9AD196C43577}">
      <dsp:nvSpPr>
        <dsp:cNvPr id="0" name=""/>
        <dsp:cNvSpPr/>
      </dsp:nvSpPr>
      <dsp:spPr>
        <a:xfrm>
          <a:off x="2659260" y="3222606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2694348" y="3257694"/>
        <a:ext cx="1926502" cy="1127830"/>
      </dsp:txXfrm>
    </dsp:sp>
    <dsp:sp modelId="{151353A4-ED70-4ACD-A43B-15BE7DF74A15}">
      <dsp:nvSpPr>
        <dsp:cNvPr id="0" name=""/>
        <dsp:cNvSpPr/>
      </dsp:nvSpPr>
      <dsp:spPr>
        <a:xfrm rot="16200000">
          <a:off x="2319668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DF6FF1-015F-4E57-9A44-229AB15BB891}">
      <dsp:nvSpPr>
        <dsp:cNvPr id="0" name=""/>
        <dsp:cNvSpPr/>
      </dsp:nvSpPr>
      <dsp:spPr>
        <a:xfrm>
          <a:off x="2659260" y="1725098"/>
          <a:ext cx="1996678" cy="1198006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2694348" y="1760186"/>
        <a:ext cx="1926502" cy="1127830"/>
      </dsp:txXfrm>
    </dsp:sp>
    <dsp:sp modelId="{7D39C1DA-0423-4F1A-B878-74279D89C51A}">
      <dsp:nvSpPr>
        <dsp:cNvPr id="0" name=""/>
        <dsp:cNvSpPr/>
      </dsp:nvSpPr>
      <dsp:spPr>
        <a:xfrm>
          <a:off x="3068422" y="432170"/>
          <a:ext cx="2645755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B70730-DE4F-45BF-AC19-3E8ACDC3FCF7}">
      <dsp:nvSpPr>
        <dsp:cNvPr id="0" name=""/>
        <dsp:cNvSpPr/>
      </dsp:nvSpPr>
      <dsp:spPr>
        <a:xfrm>
          <a:off x="2659260" y="227589"/>
          <a:ext cx="1996678" cy="1198006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chemeClr val="tx1"/>
              </a:solidFill>
            </a:rPr>
            <a:t>Sub-process</a:t>
          </a:r>
          <a:endParaRPr lang="en-US" sz="3300" kern="1200" dirty="0">
            <a:solidFill>
              <a:schemeClr val="tx1"/>
            </a:solidFill>
          </a:endParaRPr>
        </a:p>
      </dsp:txBody>
      <dsp:txXfrm>
        <a:off x="2694348" y="262677"/>
        <a:ext cx="1926502" cy="1127830"/>
      </dsp:txXfrm>
    </dsp:sp>
    <dsp:sp modelId="{A8F1686F-0707-456D-9F7D-F7239970FA29}">
      <dsp:nvSpPr>
        <dsp:cNvPr id="0" name=""/>
        <dsp:cNvSpPr/>
      </dsp:nvSpPr>
      <dsp:spPr>
        <a:xfrm rot="5400000">
          <a:off x="4975250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16D533-F0F7-4D6C-A8F6-6B7A08066E20}">
      <dsp:nvSpPr>
        <dsp:cNvPr id="0" name=""/>
        <dsp:cNvSpPr/>
      </dsp:nvSpPr>
      <dsp:spPr>
        <a:xfrm>
          <a:off x="5314842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5349930" y="262677"/>
        <a:ext cx="1926502" cy="1127830"/>
      </dsp:txXfrm>
    </dsp:sp>
    <dsp:sp modelId="{5D90366A-F553-4618-9355-E0DA9DF954A2}">
      <dsp:nvSpPr>
        <dsp:cNvPr id="0" name=""/>
        <dsp:cNvSpPr/>
      </dsp:nvSpPr>
      <dsp:spPr>
        <a:xfrm rot="5400000">
          <a:off x="4975250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07E9BB-788C-44B4-B2D9-149C2CE7002B}">
      <dsp:nvSpPr>
        <dsp:cNvPr id="0" name=""/>
        <dsp:cNvSpPr/>
      </dsp:nvSpPr>
      <dsp:spPr>
        <a:xfrm>
          <a:off x="5314842" y="1725098"/>
          <a:ext cx="1996678" cy="1198006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5349930" y="1760186"/>
        <a:ext cx="1926502" cy="1127830"/>
      </dsp:txXfrm>
    </dsp:sp>
    <dsp:sp modelId="{CBB78A34-261D-4A3F-B529-F72E5BF01D05}">
      <dsp:nvSpPr>
        <dsp:cNvPr id="0" name=""/>
        <dsp:cNvSpPr/>
      </dsp:nvSpPr>
      <dsp:spPr>
        <a:xfrm>
          <a:off x="5314842" y="3222606"/>
          <a:ext cx="1996678" cy="1198006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chemeClr val="tx1"/>
              </a:solidFill>
            </a:rPr>
            <a:t>Sub-routine</a:t>
          </a:r>
          <a:endParaRPr lang="en-US" sz="3300" kern="1200" dirty="0">
            <a:solidFill>
              <a:schemeClr val="tx1"/>
            </a:solidFill>
          </a:endParaRPr>
        </a:p>
      </dsp:txBody>
      <dsp:txXfrm>
        <a:off x="5349930" y="3257694"/>
        <a:ext cx="1926502" cy="112783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756296-C542-4FE7-9314-85298BD39BAA}">
      <dsp:nvSpPr>
        <dsp:cNvPr id="0" name=""/>
        <dsp:cNvSpPr/>
      </dsp:nvSpPr>
      <dsp:spPr>
        <a:xfrm>
          <a:off x="1449387" y="0"/>
          <a:ext cx="4749800" cy="474980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2.0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237489"/>
        <a:ext cx="1328044" cy="712470"/>
      </dsp:txXfrm>
    </dsp:sp>
    <dsp:sp modelId="{BA170D82-FF0A-47CB-BE71-7DB123384C1A}">
      <dsp:nvSpPr>
        <dsp:cNvPr id="0" name=""/>
        <dsp:cNvSpPr/>
      </dsp:nvSpPr>
      <dsp:spPr>
        <a:xfrm>
          <a:off x="1924367" y="949959"/>
          <a:ext cx="3799840" cy="37998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2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1177950"/>
        <a:ext cx="1328044" cy="683971"/>
      </dsp:txXfrm>
    </dsp:sp>
    <dsp:sp modelId="{784EB3D6-C134-4BD3-A583-A1DF7303C402}">
      <dsp:nvSpPr>
        <dsp:cNvPr id="0" name=""/>
        <dsp:cNvSpPr/>
      </dsp:nvSpPr>
      <dsp:spPr>
        <a:xfrm>
          <a:off x="2399347" y="1899919"/>
          <a:ext cx="2849880" cy="284988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1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2113660"/>
        <a:ext cx="1328044" cy="641223"/>
      </dsp:txXfrm>
    </dsp:sp>
    <dsp:sp modelId="{B7DEB214-447C-4F57-80FE-850408C5D86A}">
      <dsp:nvSpPr>
        <dsp:cNvPr id="0" name=""/>
        <dsp:cNvSpPr/>
      </dsp:nvSpPr>
      <dsp:spPr>
        <a:xfrm>
          <a:off x="2874327" y="2849879"/>
          <a:ext cx="1899920" cy="189992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0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52564" y="3324860"/>
        <a:ext cx="1343446" cy="94996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756296-C542-4FE7-9314-85298BD39BAA}">
      <dsp:nvSpPr>
        <dsp:cNvPr id="0" name=""/>
        <dsp:cNvSpPr/>
      </dsp:nvSpPr>
      <dsp:spPr>
        <a:xfrm>
          <a:off x="1449387" y="0"/>
          <a:ext cx="4749800" cy="4749800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2.0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237489"/>
        <a:ext cx="1328044" cy="712470"/>
      </dsp:txXfrm>
    </dsp:sp>
    <dsp:sp modelId="{BA170D82-FF0A-47CB-BE71-7DB123384C1A}">
      <dsp:nvSpPr>
        <dsp:cNvPr id="0" name=""/>
        <dsp:cNvSpPr/>
      </dsp:nvSpPr>
      <dsp:spPr>
        <a:xfrm>
          <a:off x="1924367" y="949959"/>
          <a:ext cx="3799840" cy="3799840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1"/>
              </a:solidFill>
              <a:latin typeface="Calibri" panose="020F0502020204030204" pitchFamily="34" charset="0"/>
            </a:rPr>
            <a:t>1.2</a:t>
          </a:r>
          <a:endParaRPr lang="en-US" sz="2800" kern="1200" dirty="0">
            <a:solidFill>
              <a:schemeClr val="tx1"/>
            </a:solidFill>
            <a:latin typeface="Calibri" panose="020F0502020204030204" pitchFamily="34" charset="0"/>
          </a:endParaRPr>
        </a:p>
      </dsp:txBody>
      <dsp:txXfrm>
        <a:off x="3160265" y="1177950"/>
        <a:ext cx="1328044" cy="683971"/>
      </dsp:txXfrm>
    </dsp:sp>
    <dsp:sp modelId="{784EB3D6-C134-4BD3-A583-A1DF7303C402}">
      <dsp:nvSpPr>
        <dsp:cNvPr id="0" name=""/>
        <dsp:cNvSpPr/>
      </dsp:nvSpPr>
      <dsp:spPr>
        <a:xfrm>
          <a:off x="2399347" y="1899919"/>
          <a:ext cx="2849880" cy="2849880"/>
        </a:xfrm>
        <a:prstGeom prst="ellipse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1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60265" y="2113660"/>
        <a:ext cx="1328044" cy="641223"/>
      </dsp:txXfrm>
    </dsp:sp>
    <dsp:sp modelId="{B7DEB214-447C-4F57-80FE-850408C5D86A}">
      <dsp:nvSpPr>
        <dsp:cNvPr id="0" name=""/>
        <dsp:cNvSpPr/>
      </dsp:nvSpPr>
      <dsp:spPr>
        <a:xfrm>
          <a:off x="2874327" y="2849879"/>
          <a:ext cx="1899920" cy="189992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latin typeface="Calibri" panose="020F0502020204030204" pitchFamily="34" charset="0"/>
            </a:rPr>
            <a:t>1.0</a:t>
          </a:r>
          <a:endParaRPr lang="en-US" sz="2800" kern="1200" dirty="0">
            <a:latin typeface="Calibri" panose="020F0502020204030204" pitchFamily="34" charset="0"/>
          </a:endParaRPr>
        </a:p>
      </dsp:txBody>
      <dsp:txXfrm>
        <a:off x="3152564" y="3324860"/>
        <a:ext cx="1343446" cy="94996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10AE8D-B624-4066-913D-82A0512003C4}">
      <dsp:nvSpPr>
        <dsp:cNvPr id="0" name=""/>
        <dsp:cNvSpPr/>
      </dsp:nvSpPr>
      <dsp:spPr>
        <a:xfrm rot="5400000">
          <a:off x="-335913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7EA76F-C064-49EF-8AFC-3868360AEF07}">
      <dsp:nvSpPr>
        <dsp:cNvPr id="0" name=""/>
        <dsp:cNvSpPr/>
      </dsp:nvSpPr>
      <dsp:spPr>
        <a:xfrm>
          <a:off x="3679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38767" y="262677"/>
        <a:ext cx="1926502" cy="1127830"/>
      </dsp:txXfrm>
    </dsp:sp>
    <dsp:sp modelId="{DEF0D9CA-2937-4993-BB71-5020A492A06A}">
      <dsp:nvSpPr>
        <dsp:cNvPr id="0" name=""/>
        <dsp:cNvSpPr/>
      </dsp:nvSpPr>
      <dsp:spPr>
        <a:xfrm rot="5400000">
          <a:off x="-335913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62BA36-EFA9-4BDE-9928-25D18B8EC4E4}">
      <dsp:nvSpPr>
        <dsp:cNvPr id="0" name=""/>
        <dsp:cNvSpPr/>
      </dsp:nvSpPr>
      <dsp:spPr>
        <a:xfrm>
          <a:off x="3679" y="1725098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38767" y="1760186"/>
        <a:ext cx="1926502" cy="1127830"/>
      </dsp:txXfrm>
    </dsp:sp>
    <dsp:sp modelId="{ABE35F0C-4E28-456A-A879-9552EF557560}">
      <dsp:nvSpPr>
        <dsp:cNvPr id="0" name=""/>
        <dsp:cNvSpPr/>
      </dsp:nvSpPr>
      <dsp:spPr>
        <a:xfrm>
          <a:off x="412840" y="3427187"/>
          <a:ext cx="2645755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E929F3-F1EB-4E33-B6DC-D616C690BB18}">
      <dsp:nvSpPr>
        <dsp:cNvPr id="0" name=""/>
        <dsp:cNvSpPr/>
      </dsp:nvSpPr>
      <dsp:spPr>
        <a:xfrm>
          <a:off x="3679" y="3222606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38767" y="3257694"/>
        <a:ext cx="1926502" cy="1127830"/>
      </dsp:txXfrm>
    </dsp:sp>
    <dsp:sp modelId="{2943EFD1-D253-48D5-95D9-A694A849D7DB}">
      <dsp:nvSpPr>
        <dsp:cNvPr id="0" name=""/>
        <dsp:cNvSpPr/>
      </dsp:nvSpPr>
      <dsp:spPr>
        <a:xfrm rot="16200000">
          <a:off x="2319668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8492C1-4849-45F3-9E2F-9AD196C43577}">
      <dsp:nvSpPr>
        <dsp:cNvPr id="0" name=""/>
        <dsp:cNvSpPr/>
      </dsp:nvSpPr>
      <dsp:spPr>
        <a:xfrm>
          <a:off x="2659260" y="3222606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2694348" y="3257694"/>
        <a:ext cx="1926502" cy="1127830"/>
      </dsp:txXfrm>
    </dsp:sp>
    <dsp:sp modelId="{151353A4-ED70-4ACD-A43B-15BE7DF74A15}">
      <dsp:nvSpPr>
        <dsp:cNvPr id="0" name=""/>
        <dsp:cNvSpPr/>
      </dsp:nvSpPr>
      <dsp:spPr>
        <a:xfrm rot="16200000">
          <a:off x="2319668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DF6FF1-015F-4E57-9A44-229AB15BB891}">
      <dsp:nvSpPr>
        <dsp:cNvPr id="0" name=""/>
        <dsp:cNvSpPr/>
      </dsp:nvSpPr>
      <dsp:spPr>
        <a:xfrm>
          <a:off x="2659260" y="1725098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2694348" y="1760186"/>
        <a:ext cx="1926502" cy="1127830"/>
      </dsp:txXfrm>
    </dsp:sp>
    <dsp:sp modelId="{7D39C1DA-0423-4F1A-B878-74279D89C51A}">
      <dsp:nvSpPr>
        <dsp:cNvPr id="0" name=""/>
        <dsp:cNvSpPr/>
      </dsp:nvSpPr>
      <dsp:spPr>
        <a:xfrm>
          <a:off x="3068422" y="432170"/>
          <a:ext cx="2645755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B70730-DE4F-45BF-AC19-3E8ACDC3FCF7}">
      <dsp:nvSpPr>
        <dsp:cNvPr id="0" name=""/>
        <dsp:cNvSpPr/>
      </dsp:nvSpPr>
      <dsp:spPr>
        <a:xfrm>
          <a:off x="2659260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2694348" y="262677"/>
        <a:ext cx="1926502" cy="1127830"/>
      </dsp:txXfrm>
    </dsp:sp>
    <dsp:sp modelId="{A8F1686F-0707-456D-9F7D-F7239970FA29}">
      <dsp:nvSpPr>
        <dsp:cNvPr id="0" name=""/>
        <dsp:cNvSpPr/>
      </dsp:nvSpPr>
      <dsp:spPr>
        <a:xfrm rot="5400000">
          <a:off x="4975250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16D533-F0F7-4D6C-A8F6-6B7A08066E20}">
      <dsp:nvSpPr>
        <dsp:cNvPr id="0" name=""/>
        <dsp:cNvSpPr/>
      </dsp:nvSpPr>
      <dsp:spPr>
        <a:xfrm>
          <a:off x="5314842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5349930" y="262677"/>
        <a:ext cx="1926502" cy="1127830"/>
      </dsp:txXfrm>
    </dsp:sp>
    <dsp:sp modelId="{5D90366A-F553-4618-9355-E0DA9DF954A2}">
      <dsp:nvSpPr>
        <dsp:cNvPr id="0" name=""/>
        <dsp:cNvSpPr/>
      </dsp:nvSpPr>
      <dsp:spPr>
        <a:xfrm rot="5400000">
          <a:off x="4975250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07E9BB-788C-44B4-B2D9-149C2CE7002B}">
      <dsp:nvSpPr>
        <dsp:cNvPr id="0" name=""/>
        <dsp:cNvSpPr/>
      </dsp:nvSpPr>
      <dsp:spPr>
        <a:xfrm>
          <a:off x="5314842" y="1725098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5349930" y="1760186"/>
        <a:ext cx="1926502" cy="1127830"/>
      </dsp:txXfrm>
    </dsp:sp>
    <dsp:sp modelId="{CBB78A34-261D-4A3F-B529-F72E5BF01D05}">
      <dsp:nvSpPr>
        <dsp:cNvPr id="0" name=""/>
        <dsp:cNvSpPr/>
      </dsp:nvSpPr>
      <dsp:spPr>
        <a:xfrm>
          <a:off x="5314842" y="3222606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5349930" y="3257694"/>
        <a:ext cx="1926502" cy="112783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10AE8D-B624-4066-913D-82A0512003C4}">
      <dsp:nvSpPr>
        <dsp:cNvPr id="0" name=""/>
        <dsp:cNvSpPr/>
      </dsp:nvSpPr>
      <dsp:spPr>
        <a:xfrm rot="5400000">
          <a:off x="-335913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7EA76F-C064-49EF-8AFC-3868360AEF07}">
      <dsp:nvSpPr>
        <dsp:cNvPr id="0" name=""/>
        <dsp:cNvSpPr/>
      </dsp:nvSpPr>
      <dsp:spPr>
        <a:xfrm>
          <a:off x="3679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38767" y="262677"/>
        <a:ext cx="1926502" cy="1127830"/>
      </dsp:txXfrm>
    </dsp:sp>
    <dsp:sp modelId="{DEF0D9CA-2937-4993-BB71-5020A492A06A}">
      <dsp:nvSpPr>
        <dsp:cNvPr id="0" name=""/>
        <dsp:cNvSpPr/>
      </dsp:nvSpPr>
      <dsp:spPr>
        <a:xfrm rot="5400000">
          <a:off x="-335913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62BA36-EFA9-4BDE-9928-25D18B8EC4E4}">
      <dsp:nvSpPr>
        <dsp:cNvPr id="0" name=""/>
        <dsp:cNvSpPr/>
      </dsp:nvSpPr>
      <dsp:spPr>
        <a:xfrm>
          <a:off x="3679" y="1725098"/>
          <a:ext cx="1996678" cy="1198006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chemeClr val="tx1"/>
              </a:solidFill>
            </a:rPr>
            <a:t>Sub-system</a:t>
          </a:r>
          <a:endParaRPr lang="en-US" sz="3300" kern="1200" dirty="0">
            <a:solidFill>
              <a:schemeClr val="tx1"/>
            </a:solidFill>
          </a:endParaRPr>
        </a:p>
      </dsp:txBody>
      <dsp:txXfrm>
        <a:off x="38767" y="1760186"/>
        <a:ext cx="1926502" cy="1127830"/>
      </dsp:txXfrm>
    </dsp:sp>
    <dsp:sp modelId="{ABE35F0C-4E28-456A-A879-9552EF557560}">
      <dsp:nvSpPr>
        <dsp:cNvPr id="0" name=""/>
        <dsp:cNvSpPr/>
      </dsp:nvSpPr>
      <dsp:spPr>
        <a:xfrm>
          <a:off x="412840" y="3427187"/>
          <a:ext cx="2645755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E929F3-F1EB-4E33-B6DC-D616C690BB18}">
      <dsp:nvSpPr>
        <dsp:cNvPr id="0" name=""/>
        <dsp:cNvSpPr/>
      </dsp:nvSpPr>
      <dsp:spPr>
        <a:xfrm>
          <a:off x="3679" y="3222606"/>
          <a:ext cx="1996678" cy="1198006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38767" y="3257694"/>
        <a:ext cx="1926502" cy="1127830"/>
      </dsp:txXfrm>
    </dsp:sp>
    <dsp:sp modelId="{2943EFD1-D253-48D5-95D9-A694A849D7DB}">
      <dsp:nvSpPr>
        <dsp:cNvPr id="0" name=""/>
        <dsp:cNvSpPr/>
      </dsp:nvSpPr>
      <dsp:spPr>
        <a:xfrm rot="16200000">
          <a:off x="2319668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8492C1-4849-45F3-9E2F-9AD196C43577}">
      <dsp:nvSpPr>
        <dsp:cNvPr id="0" name=""/>
        <dsp:cNvSpPr/>
      </dsp:nvSpPr>
      <dsp:spPr>
        <a:xfrm>
          <a:off x="2659260" y="3222606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routine</a:t>
          </a:r>
          <a:endParaRPr lang="en-US" sz="3300" kern="1200" dirty="0"/>
        </a:p>
      </dsp:txBody>
      <dsp:txXfrm>
        <a:off x="2694348" y="3257694"/>
        <a:ext cx="1926502" cy="1127830"/>
      </dsp:txXfrm>
    </dsp:sp>
    <dsp:sp modelId="{151353A4-ED70-4ACD-A43B-15BE7DF74A15}">
      <dsp:nvSpPr>
        <dsp:cNvPr id="0" name=""/>
        <dsp:cNvSpPr/>
      </dsp:nvSpPr>
      <dsp:spPr>
        <a:xfrm rot="16200000">
          <a:off x="2319668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DF6FF1-015F-4E57-9A44-229AB15BB891}">
      <dsp:nvSpPr>
        <dsp:cNvPr id="0" name=""/>
        <dsp:cNvSpPr/>
      </dsp:nvSpPr>
      <dsp:spPr>
        <a:xfrm>
          <a:off x="2659260" y="1725098"/>
          <a:ext cx="1996678" cy="1198006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2694348" y="1760186"/>
        <a:ext cx="1926502" cy="1127830"/>
      </dsp:txXfrm>
    </dsp:sp>
    <dsp:sp modelId="{7D39C1DA-0423-4F1A-B878-74279D89C51A}">
      <dsp:nvSpPr>
        <dsp:cNvPr id="0" name=""/>
        <dsp:cNvSpPr/>
      </dsp:nvSpPr>
      <dsp:spPr>
        <a:xfrm>
          <a:off x="3068422" y="432170"/>
          <a:ext cx="2645755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B70730-DE4F-45BF-AC19-3E8ACDC3FCF7}">
      <dsp:nvSpPr>
        <dsp:cNvPr id="0" name=""/>
        <dsp:cNvSpPr/>
      </dsp:nvSpPr>
      <dsp:spPr>
        <a:xfrm>
          <a:off x="2659260" y="227589"/>
          <a:ext cx="1996678" cy="1198006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chemeClr val="tx1"/>
              </a:solidFill>
            </a:rPr>
            <a:t>Sub-process</a:t>
          </a:r>
          <a:endParaRPr lang="en-US" sz="3300" kern="1200" dirty="0">
            <a:solidFill>
              <a:schemeClr val="tx1"/>
            </a:solidFill>
          </a:endParaRPr>
        </a:p>
      </dsp:txBody>
      <dsp:txXfrm>
        <a:off x="2694348" y="262677"/>
        <a:ext cx="1926502" cy="1127830"/>
      </dsp:txXfrm>
    </dsp:sp>
    <dsp:sp modelId="{A8F1686F-0707-456D-9F7D-F7239970FA29}">
      <dsp:nvSpPr>
        <dsp:cNvPr id="0" name=""/>
        <dsp:cNvSpPr/>
      </dsp:nvSpPr>
      <dsp:spPr>
        <a:xfrm rot="5400000">
          <a:off x="4975250" y="1180924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16D533-F0F7-4D6C-A8F6-6B7A08066E20}">
      <dsp:nvSpPr>
        <dsp:cNvPr id="0" name=""/>
        <dsp:cNvSpPr/>
      </dsp:nvSpPr>
      <dsp:spPr>
        <a:xfrm>
          <a:off x="5314842" y="227589"/>
          <a:ext cx="1996678" cy="119800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process</a:t>
          </a:r>
          <a:endParaRPr lang="en-US" sz="3300" kern="1200" dirty="0"/>
        </a:p>
      </dsp:txBody>
      <dsp:txXfrm>
        <a:off x="5349930" y="262677"/>
        <a:ext cx="1926502" cy="1127830"/>
      </dsp:txXfrm>
    </dsp:sp>
    <dsp:sp modelId="{5D90366A-F553-4618-9355-E0DA9DF954A2}">
      <dsp:nvSpPr>
        <dsp:cNvPr id="0" name=""/>
        <dsp:cNvSpPr/>
      </dsp:nvSpPr>
      <dsp:spPr>
        <a:xfrm rot="5400000">
          <a:off x="4975250" y="2678433"/>
          <a:ext cx="1487682" cy="179701"/>
        </a:xfrm>
        <a:prstGeom prst="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07E9BB-788C-44B4-B2D9-149C2CE7002B}">
      <dsp:nvSpPr>
        <dsp:cNvPr id="0" name=""/>
        <dsp:cNvSpPr/>
      </dsp:nvSpPr>
      <dsp:spPr>
        <a:xfrm>
          <a:off x="5314842" y="1725098"/>
          <a:ext cx="1996678" cy="1198006"/>
        </a:xfrm>
        <a:prstGeom prst="roundRect">
          <a:avLst>
            <a:gd name="adj" fmla="val 10000"/>
          </a:avLst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Sub-system</a:t>
          </a:r>
          <a:endParaRPr lang="en-US" sz="3300" kern="1200" dirty="0"/>
        </a:p>
      </dsp:txBody>
      <dsp:txXfrm>
        <a:off x="5349930" y="1760186"/>
        <a:ext cx="1926502" cy="1127830"/>
      </dsp:txXfrm>
    </dsp:sp>
    <dsp:sp modelId="{CBB78A34-261D-4A3F-B529-F72E5BF01D05}">
      <dsp:nvSpPr>
        <dsp:cNvPr id="0" name=""/>
        <dsp:cNvSpPr/>
      </dsp:nvSpPr>
      <dsp:spPr>
        <a:xfrm>
          <a:off x="5314842" y="3222606"/>
          <a:ext cx="1996678" cy="1198006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>
              <a:solidFill>
                <a:schemeClr val="tx1"/>
              </a:solidFill>
            </a:rPr>
            <a:t>Sub-routine</a:t>
          </a:r>
          <a:endParaRPr lang="en-US" sz="3300" kern="1200" dirty="0">
            <a:solidFill>
              <a:schemeClr val="tx1"/>
            </a:solidFill>
          </a:endParaRPr>
        </a:p>
      </dsp:txBody>
      <dsp:txXfrm>
        <a:off x="5349930" y="3257694"/>
        <a:ext cx="1926502" cy="11278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137" cy="463571"/>
          </a:xfrm>
          <a:prstGeom prst="rect">
            <a:avLst/>
          </a:prstGeom>
        </p:spPr>
        <p:txBody>
          <a:bodyPr vert="horz" lIns="87938" tIns="43969" rIns="87938" bIns="4396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348" y="0"/>
            <a:ext cx="3027137" cy="463571"/>
          </a:xfrm>
          <a:prstGeom prst="rect">
            <a:avLst/>
          </a:prstGeom>
        </p:spPr>
        <p:txBody>
          <a:bodyPr vert="horz" lIns="87938" tIns="43969" rIns="87938" bIns="43969" rtlCol="0"/>
          <a:lstStyle>
            <a:lvl1pPr algn="r">
              <a:defRPr sz="1200"/>
            </a:lvl1pPr>
          </a:lstStyle>
          <a:p>
            <a:fld id="{5EC678B4-DA5A-4060-B8FC-CCF6AA74FD19}" type="datetimeFigureOut">
              <a:rPr lang="en-US" smtClean="0"/>
              <a:pPr/>
              <a:t>3/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8595"/>
            <a:ext cx="3027137" cy="463571"/>
          </a:xfrm>
          <a:prstGeom prst="rect">
            <a:avLst/>
          </a:prstGeom>
        </p:spPr>
        <p:txBody>
          <a:bodyPr vert="horz" lIns="87938" tIns="43969" rIns="87938" bIns="4396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348" y="8818595"/>
            <a:ext cx="3027137" cy="463571"/>
          </a:xfrm>
          <a:prstGeom prst="rect">
            <a:avLst/>
          </a:prstGeom>
        </p:spPr>
        <p:txBody>
          <a:bodyPr vert="horz" lIns="87938" tIns="43969" rIns="87938" bIns="43969" rtlCol="0" anchor="b"/>
          <a:lstStyle>
            <a:lvl1pPr algn="r">
              <a:defRPr sz="1200"/>
            </a:lvl1pPr>
          </a:lstStyle>
          <a:p>
            <a:fld id="{4B774CCA-6A89-4BBE-8013-7184DE7F3E0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184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23" tIns="46463" rIns="92923" bIns="4646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23" tIns="46463" rIns="92923" bIns="46463" rtlCol="0"/>
          <a:lstStyle>
            <a:lvl1pPr algn="r">
              <a:defRPr sz="1200"/>
            </a:lvl1pPr>
          </a:lstStyle>
          <a:p>
            <a:fld id="{D11B58C4-30CB-47C3-A908-43A78A6909FC}" type="datetimeFigureOut">
              <a:rPr lang="en-US" smtClean="0"/>
              <a:pPr/>
              <a:t>3/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5325"/>
            <a:ext cx="4641850" cy="3481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23" tIns="46463" rIns="92923" bIns="4646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23" tIns="46463" rIns="92923" bIns="4646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23" tIns="46463" rIns="92923" bIns="4646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23" tIns="46463" rIns="92923" bIns="46463" rtlCol="0" anchor="b"/>
          <a:lstStyle>
            <a:lvl1pPr algn="r">
              <a:defRPr sz="1200"/>
            </a:lvl1pPr>
          </a:lstStyle>
          <a:p>
            <a:fld id="{B29D79EE-C4C4-4933-BD77-7AC086FBA6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3950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3.png"/><Relationship Id="rId5" Type="http://schemas.openxmlformats.org/officeDocument/2006/relationships/tags" Target="../tags/tag5.xml"/><Relationship Id="rId10" Type="http://schemas.openxmlformats.org/officeDocument/2006/relationships/image" Target="../media/image2.jpeg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2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468313" y="1341439"/>
            <a:ext cx="8207375" cy="2324099"/>
          </a:xfrm>
        </p:spPr>
        <p:txBody>
          <a:bodyPr>
            <a:normAutofit/>
          </a:bodyPr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68313" y="3667125"/>
            <a:ext cx="8207375" cy="409947"/>
          </a:xfrm>
        </p:spPr>
        <p:txBody>
          <a:bodyPr vert="horz" lIns="0" tIns="45720" rIns="0" bIns="45720" rtlCol="0">
            <a:normAutofit/>
          </a:bodyPr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68313" y="4077072"/>
            <a:ext cx="8207375" cy="560387"/>
          </a:xfrm>
        </p:spPr>
        <p:txBody>
          <a:bodyPr vert="horz" lIns="0" tIns="45720" rIns="0" bIns="45720" rtlCol="0">
            <a:normAutofit/>
          </a:bodyPr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1600" b="1" i="1" kern="1200" baseline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</a:lstStyle>
          <a:p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4637459"/>
            <a:ext cx="8207375" cy="560387"/>
          </a:xfrm>
        </p:spPr>
        <p:txBody>
          <a:bodyPr vert="horz" lIns="0" tIns="45720" rIns="0" bIns="45720" rtlCol="0">
            <a:normAutofit/>
          </a:bodyPr>
          <a:lstStyle>
            <a:lvl1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16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</a:lstStyle>
          <a:p>
            <a:r>
              <a:rPr lang="en-US" dirty="0" smtClean="0"/>
              <a:t>Presenter(s)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6657975" y="73199"/>
            <a:ext cx="2009750" cy="70326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ent’s logo</a:t>
            </a:r>
            <a:endParaRPr lang="en-US" dirty="0"/>
          </a:p>
        </p:txBody>
      </p:sp>
      <p:pic>
        <p:nvPicPr>
          <p:cNvPr id="1028" name="Picture 4" descr="NCMA - National Contract Management Association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926887" y="6115987"/>
            <a:ext cx="1217112" cy="7420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rma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3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6"/>
            </p:custDataLst>
          </p:nvPr>
        </p:nvSpPr>
        <p:spPr>
          <a:xfrm>
            <a:off x="4752975" y="1341439"/>
            <a:ext cx="3922713" cy="2324099"/>
          </a:xfrm>
        </p:spPr>
        <p:txBody>
          <a:bodyPr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ype Name Her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52975" y="3886200"/>
            <a:ext cx="3922713" cy="1847850"/>
          </a:xfrm>
        </p:spPr>
        <p:txBody>
          <a:bodyPr vert="horz" wrap="square" lIns="0" tIns="45720" rIns="0" bIns="45720" rtlCol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b="1" i="0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Address</a:t>
            </a:r>
            <a:br>
              <a:rPr lang="en-US" dirty="0" smtClean="0"/>
            </a:br>
            <a:r>
              <a:rPr lang="en-US" dirty="0" smtClean="0"/>
              <a:t> City,  State, Zip</a:t>
            </a:r>
            <a:br>
              <a:rPr lang="en-US" dirty="0" smtClean="0"/>
            </a:br>
            <a:r>
              <a:rPr lang="en-US" dirty="0" smtClean="0"/>
              <a:t>Phone</a:t>
            </a:r>
            <a:br>
              <a:rPr lang="en-US" dirty="0" smtClean="0"/>
            </a:br>
            <a:r>
              <a:rPr lang="en-US" dirty="0" smtClean="0"/>
              <a:t>Email</a:t>
            </a:r>
            <a:endParaRPr lang="en-US" dirty="0"/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2" y="3886200"/>
            <a:ext cx="3922713" cy="1847850"/>
          </a:xfrm>
        </p:spPr>
        <p:txBody>
          <a:bodyPr vert="horz" wrap="square" lIns="0" tIns="45720" rIns="0" bIns="45720" rtlCol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2000" b="1" i="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Address</a:t>
            </a:r>
            <a:br>
              <a:rPr lang="en-US" dirty="0" smtClean="0"/>
            </a:br>
            <a:r>
              <a:rPr lang="en-US" dirty="0" smtClean="0"/>
              <a:t> City,  State, Zip</a:t>
            </a:r>
            <a:br>
              <a:rPr lang="en-US" dirty="0" smtClean="0"/>
            </a:br>
            <a:r>
              <a:rPr lang="en-US" dirty="0" smtClean="0"/>
              <a:t>Phone </a:t>
            </a:r>
            <a:br>
              <a:rPr lang="en-US" dirty="0" smtClean="0"/>
            </a:br>
            <a:r>
              <a:rPr lang="en-US" dirty="0" smtClean="0"/>
              <a:t>Email</a:t>
            </a:r>
            <a:endParaRPr lang="en-US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468313" y="1341439"/>
            <a:ext cx="3922712" cy="2324099"/>
          </a:xfrm>
        </p:spPr>
        <p:txBody>
          <a:bodyPr vert="horz" lIns="0" tIns="45720" rIns="0" bIns="45720" rtlCol="0" anchor="b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lang="en-US" sz="30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 indent="0" algn="r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Type Name Here</a:t>
            </a:r>
            <a:endParaRPr lang="en-US" dirty="0"/>
          </a:p>
        </p:txBody>
      </p:sp>
      <p:sp>
        <p:nvSpPr>
          <p:cNvPr id="12" name="Content Placeholder 5"/>
          <p:cNvSpPr txBox="1">
            <a:spLocks/>
          </p:cNvSpPr>
          <p:nvPr userDrawn="1"/>
        </p:nvSpPr>
        <p:spPr>
          <a:xfrm>
            <a:off x="9289143" y="1646069"/>
            <a:ext cx="2551473" cy="4591217"/>
          </a:xfrm>
          <a:prstGeom prst="roundRect">
            <a:avLst/>
          </a:prstGeom>
          <a:solidFill>
            <a:schemeClr val="bg2"/>
          </a:solidFill>
        </p:spPr>
        <p:txBody>
          <a:bodyPr lIns="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always enter your data in the right-hand box first. If there is only one presenter, please use this box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en entering your details, please use the following format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1: Addr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2:  City, State, Zi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3:  Phone (xxx.xxx.xxxx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4: Emai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this comment will not be appear on print-outs nor in slideshow mode)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66765" y="6611937"/>
            <a:ext cx="956452" cy="24606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BACB19-7E9A-4195-BE0B-E46736A148C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" name="Picture 4" descr="NCMA - National Contract Management Association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6888" y="6115988"/>
            <a:ext cx="1217112" cy="742012"/>
          </a:xfrm>
          <a:prstGeom prst="rect">
            <a:avLst/>
          </a:prstGeom>
          <a:noFill/>
        </p:spPr>
      </p:pic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ackground2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38060" y="2505074"/>
            <a:ext cx="5805940" cy="1160463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450995" y="3705225"/>
            <a:ext cx="5805940" cy="40994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914400" y="6464528"/>
            <a:ext cx="7772400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r"/>
            <a:r>
              <a:rPr lang="en-US" sz="800" dirty="0" smtClean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Copyright © 2015 Holland &amp; Knight LLP.  All Rights Reserved</a:t>
            </a:r>
            <a:endParaRPr lang="en-US" sz="800" dirty="0">
              <a:solidFill>
                <a:prstClr val="white">
                  <a:lumMod val="65000"/>
                </a:prstClr>
              </a:solidFill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460520" y="4181847"/>
            <a:ext cx="5805940" cy="56038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1600" b="1" i="1" kern="1200" baseline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0" indent="0" algn="r" defTabSz="914400" rtl="0" eaLnBrk="1" latinLnBrk="0" hangingPunct="1">
              <a:lnSpc>
                <a:spcPts val="1800"/>
              </a:lnSpc>
              <a:spcBef>
                <a:spcPct val="20000"/>
              </a:spcBef>
              <a:buFont typeface="Arial" pitchFamily="34" charset="0"/>
              <a:buNone/>
              <a:defRPr lang="en-US" sz="2000" b="1" i="1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</a:lstStyle>
          <a:p>
            <a:r>
              <a:rPr lang="en-US" dirty="0" smtClean="0"/>
              <a:t>Location, Date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6791325" y="330374"/>
            <a:ext cx="1909845" cy="703263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ent’s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4622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with Sub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203792"/>
            <a:ext cx="7781924" cy="5391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4875" y="1877440"/>
            <a:ext cx="7781924" cy="4382311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 typeface="Arial" pitchFamily="34" charset="0"/>
              <a:buChar char="»"/>
              <a:defRPr sz="18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buClr>
                <a:srgbClr val="00A9E0"/>
              </a:buClr>
              <a:buFont typeface="Arial" pitchFamily="34" charset="0"/>
              <a:buChar char="˗"/>
              <a:defRPr sz="1600">
                <a:solidFill>
                  <a:srgbClr val="000000"/>
                </a:solidFill>
              </a:defRPr>
            </a:lvl3pPr>
            <a:lvl4pPr>
              <a:buClr>
                <a:srgbClr val="00A9E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>
              <a:buClr>
                <a:srgbClr val="00A9E0"/>
              </a:buClr>
              <a:buFont typeface="Wingdings" pitchFamily="2" charset="2"/>
              <a:buChar char="§"/>
              <a:defRPr sz="1200">
                <a:solidFill>
                  <a:srgbClr val="000000"/>
                </a:solidFill>
              </a:defRPr>
            </a:lvl5pPr>
            <a:lvl6pPr marL="1371600" indent="-282575">
              <a:buClr>
                <a:srgbClr val="00A9E0"/>
              </a:buClr>
              <a:buFont typeface="Courier New" pitchFamily="49" charset="0"/>
              <a:buChar char="o"/>
              <a:defRPr sz="1000">
                <a:solidFill>
                  <a:srgbClr val="000000"/>
                </a:solidFill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 Add source or notes he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 hasCustomPrompt="1"/>
          </p:nvPr>
        </p:nvSpPr>
        <p:spPr>
          <a:xfrm>
            <a:off x="891905" y="1173804"/>
            <a:ext cx="7781924" cy="3437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sz="2000" b="1" baseline="0">
                <a:solidFill>
                  <a:srgbClr val="002776"/>
                </a:solidFill>
                <a:latin typeface="+mj-lt"/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buClr>
                <a:srgbClr val="00A9E0"/>
              </a:buClr>
              <a:buFont typeface="Arial" pitchFamily="34" charset="0"/>
              <a:buChar char="˗"/>
              <a:defRPr sz="1600">
                <a:solidFill>
                  <a:srgbClr val="000000"/>
                </a:solidFill>
              </a:defRPr>
            </a:lvl3pPr>
            <a:lvl4pPr>
              <a:buClr>
                <a:srgbClr val="00A9E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buClr>
                <a:srgbClr val="00A9E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5pPr>
            <a:lvl6pPr marL="1371600" indent="-282575">
              <a:buClr>
                <a:srgbClr val="00A9E0"/>
              </a:buClr>
              <a:buFont typeface="Wingdings" pitchFamily="2" charset="2"/>
              <a:buChar char="§"/>
              <a:defRPr sz="1600">
                <a:solidFill>
                  <a:srgbClr val="000000"/>
                </a:solidFill>
              </a:defRPr>
            </a:lvl6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98390" y="1530485"/>
            <a:ext cx="7781924" cy="3437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sz="1800" b="0" baseline="0">
                <a:solidFill>
                  <a:srgbClr val="002776"/>
                </a:solidFill>
                <a:latin typeface="+mj-lt"/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buClr>
                <a:srgbClr val="00A9E0"/>
              </a:buClr>
              <a:buFont typeface="Arial" pitchFamily="34" charset="0"/>
              <a:buChar char="˗"/>
              <a:defRPr sz="1600">
                <a:solidFill>
                  <a:srgbClr val="000000"/>
                </a:solidFill>
              </a:defRPr>
            </a:lvl3pPr>
            <a:lvl4pPr>
              <a:buClr>
                <a:srgbClr val="00A9E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4pPr>
            <a:lvl5pPr>
              <a:buClr>
                <a:srgbClr val="00A9E0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5pPr>
            <a:lvl6pPr marL="1371600" indent="-282575">
              <a:buClr>
                <a:srgbClr val="00A9E0"/>
              </a:buClr>
              <a:buFont typeface="Wingdings" pitchFamily="2" charset="2"/>
              <a:buChar char="§"/>
              <a:defRPr sz="1600">
                <a:solidFill>
                  <a:srgbClr val="000000"/>
                </a:solidFill>
              </a:defRPr>
            </a:lvl6pPr>
          </a:lstStyle>
          <a:p>
            <a:pPr lvl="0"/>
            <a:r>
              <a:rPr lang="en-US" dirty="0" smtClean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9293922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203792"/>
            <a:ext cx="7781924" cy="53915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4875" y="1189038"/>
            <a:ext cx="7781924" cy="498316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 typeface="Arial" pitchFamily="34" charset="0"/>
              <a:buChar char="»"/>
              <a:defRPr sz="1800">
                <a:solidFill>
                  <a:srgbClr val="000000"/>
                </a:solidFill>
              </a:defRPr>
            </a:lvl1pPr>
            <a:lvl2pPr>
              <a:defRPr sz="1600">
                <a:solidFill>
                  <a:srgbClr val="000000"/>
                </a:solidFill>
              </a:defRPr>
            </a:lvl2pPr>
            <a:lvl3pPr>
              <a:buClr>
                <a:srgbClr val="00A9E0"/>
              </a:buClr>
              <a:buFont typeface="Arial" pitchFamily="34" charset="0"/>
              <a:buChar char="˗"/>
              <a:defRPr sz="1600">
                <a:solidFill>
                  <a:srgbClr val="000000"/>
                </a:solidFill>
              </a:defRPr>
            </a:lvl3pPr>
            <a:lvl4pPr>
              <a:buClr>
                <a:srgbClr val="00A9E0"/>
              </a:buClr>
              <a:buFont typeface="Arial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>
              <a:buClr>
                <a:srgbClr val="00A9E0"/>
              </a:buClr>
              <a:buFont typeface="Wingdings" pitchFamily="2" charset="2"/>
              <a:buChar char="§"/>
              <a:defRPr sz="1200">
                <a:solidFill>
                  <a:srgbClr val="000000"/>
                </a:solidFill>
              </a:defRPr>
            </a:lvl5pPr>
            <a:lvl6pPr marL="1371600" indent="-282575">
              <a:buClr>
                <a:srgbClr val="00A9E0"/>
              </a:buClr>
              <a:buFont typeface="Courier New" pitchFamily="49" charset="0"/>
              <a:buChar char="o"/>
              <a:defRPr sz="1000">
                <a:solidFill>
                  <a:srgbClr val="000000"/>
                </a:solidFill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 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19926653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203793"/>
            <a:ext cx="7791450" cy="53915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04875" y="1931988"/>
            <a:ext cx="366712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95350" y="1189038"/>
            <a:ext cx="779145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95350" y="1496815"/>
            <a:ext cx="779145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733925" y="1931988"/>
            <a:ext cx="366712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261093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184742"/>
            <a:ext cx="7791450" cy="55820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95350" y="1189038"/>
            <a:ext cx="779145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04875" y="1931988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/>
            </a:lvl1pPr>
            <a:lvl3pPr>
              <a:buFont typeface="Arial" pitchFamily="34" charset="0"/>
              <a:buChar char="˗"/>
              <a:defRPr/>
            </a:lvl3pPr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904876" y="1496815"/>
            <a:ext cx="3724273" cy="435173"/>
          </a:xfrm>
          <a:prstGeom prst="rect">
            <a:avLst/>
          </a:prstGeom>
        </p:spPr>
        <p:txBody>
          <a:bodyPr anchor="b"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953000" y="1931989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/>
            </a:lvl1pPr>
            <a:lvl3pPr>
              <a:buFont typeface="Arial" pitchFamily="34" charset="0"/>
              <a:buChar char="˗"/>
              <a:defRPr/>
            </a:lvl3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4953001" y="1496815"/>
            <a:ext cx="3724273" cy="435173"/>
          </a:xfrm>
          <a:prstGeom prst="rect">
            <a:avLst/>
          </a:prstGeom>
        </p:spPr>
        <p:txBody>
          <a:bodyPr anchor="b">
            <a:noAutofit/>
          </a:bodyPr>
          <a:lstStyle>
            <a:lvl1pPr marL="233363" indent="-233363">
              <a:buClr>
                <a:srgbClr val="00A9E0"/>
              </a:buCl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40940909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umn Represenative Engag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4876801" y="1009650"/>
            <a:ext cx="4267200" cy="5848350"/>
          </a:xfrm>
          <a:prstGeom prst="rect">
            <a:avLst/>
          </a:prstGeom>
          <a:solidFill>
            <a:srgbClr val="A0CFEB">
              <a:alpha val="3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184742"/>
            <a:ext cx="7791450" cy="55820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95350" y="1189038"/>
            <a:ext cx="779145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04875" y="1931988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904876" y="1496815"/>
            <a:ext cx="3724273" cy="435173"/>
          </a:xfrm>
          <a:prstGeom prst="rect">
            <a:avLst/>
          </a:prstGeom>
        </p:spPr>
        <p:txBody>
          <a:bodyPr anchor="b"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4953000" y="1931989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4953001" y="1496815"/>
            <a:ext cx="3724273" cy="435173"/>
          </a:xfrm>
          <a:prstGeom prst="rect">
            <a:avLst/>
          </a:prstGeom>
        </p:spPr>
        <p:txBody>
          <a:bodyPr anchor="b">
            <a:noAutofit/>
          </a:bodyPr>
          <a:lstStyle>
            <a:lvl1pPr marL="233363" indent="-233363">
              <a:buClr>
                <a:srgbClr val="00A9E0"/>
              </a:buClr>
              <a:buFontTx/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20987057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184741"/>
            <a:ext cx="8229600" cy="55820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904875" y="1665288"/>
            <a:ext cx="3922713" cy="4497387"/>
          </a:xfrm>
          <a:prstGeom prst="rect">
            <a:avLst/>
          </a:prstGeom>
        </p:spPr>
        <p:txBody>
          <a:bodyPr/>
          <a:lstStyle>
            <a:lvl1pPr marL="233363" indent="-233363">
              <a:buClr>
                <a:srgbClr val="00A9E0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buFont typeface="Arial" pitchFamily="34" charset="0"/>
              <a:buChar char="˗"/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962524" y="1674813"/>
            <a:ext cx="3848101" cy="447833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04875" y="1189038"/>
            <a:ext cx="8229600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Content Placeholder 5"/>
          <p:cNvSpPr txBox="1">
            <a:spLocks/>
          </p:cNvSpPr>
          <p:nvPr userDrawn="1"/>
        </p:nvSpPr>
        <p:spPr>
          <a:xfrm>
            <a:off x="9289143" y="1646069"/>
            <a:ext cx="2551473" cy="4591217"/>
          </a:xfrm>
          <a:prstGeom prst="roundRect">
            <a:avLst/>
          </a:prstGeom>
          <a:solidFill>
            <a:schemeClr val="bg2"/>
          </a:solidFill>
        </p:spPr>
        <p:txBody>
          <a:bodyPr lIns="36000" rIns="3600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Only photos that we have copyright permission can be used in PowerPoint. 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300" dirty="0" smtClean="0">
              <a:solidFill>
                <a:srgbClr val="002776"/>
              </a:solidFill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DO NOT use photos off of Google or any photo sites without legally purchasing the imag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300" dirty="0" smtClean="0">
              <a:solidFill>
                <a:srgbClr val="002776"/>
              </a:solidFill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100" i="1" dirty="0" smtClean="0">
                <a:solidFill>
                  <a:srgbClr val="002776"/>
                </a:solidFill>
              </a:rPr>
              <a:t>(this comment will not be appear on print-outs nor in slideshow mode)</a:t>
            </a:r>
            <a:endParaRPr lang="en-US" sz="1100" i="1" dirty="0">
              <a:solidFill>
                <a:srgbClr val="002776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1880342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399" y="194266"/>
            <a:ext cx="7781925" cy="55820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Bio Slide S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923925" y="1657350"/>
            <a:ext cx="1810997" cy="215265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</a:t>
            </a:r>
            <a:br>
              <a:rPr lang="en-US" dirty="0" smtClean="0"/>
            </a:br>
            <a:r>
              <a:rPr lang="en-US" dirty="0" smtClean="0"/>
              <a:t>Photo </a:t>
            </a:r>
            <a:br>
              <a:rPr lang="en-US" dirty="0" smtClean="0"/>
            </a:br>
            <a:r>
              <a:rPr lang="en-US" dirty="0" smtClean="0"/>
              <a:t>Her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923925" y="1189038"/>
            <a:ext cx="7809053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Name Her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904875" y="4454393"/>
            <a:ext cx="1855812" cy="1659069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hone </a:t>
            </a:r>
            <a:br>
              <a:rPr lang="en-US" dirty="0" smtClean="0"/>
            </a:br>
            <a:r>
              <a:rPr lang="en-US" dirty="0" smtClean="0"/>
              <a:t>Email </a:t>
            </a:r>
            <a:br>
              <a:rPr lang="en-US" dirty="0" smtClean="0"/>
            </a:br>
            <a:r>
              <a:rPr lang="en-US" dirty="0" smtClean="0"/>
              <a:t>City, State</a:t>
            </a:r>
            <a:endParaRPr lang="en-US" dirty="0"/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2791732" y="4203552"/>
            <a:ext cx="2551473" cy="1965822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1: Name (bold)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2:  Title (bold)</a:t>
            </a:r>
            <a:br>
              <a:rPr lang="en-US" sz="1300" dirty="0" smtClean="0">
                <a:solidFill>
                  <a:srgbClr val="002776"/>
                </a:solidFill>
              </a:rPr>
            </a:br>
            <a:r>
              <a:rPr lang="en-US" sz="1300" dirty="0" smtClean="0">
                <a:solidFill>
                  <a:srgbClr val="002776"/>
                </a:solidFill>
              </a:rPr>
              <a:t>Line 3:  (blank)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4: Phone number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5: Email address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Line 6: City, State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2791732" y="1812842"/>
            <a:ext cx="2551473" cy="163846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Please include a black &amp; white picture 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height = 230px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300" dirty="0" smtClean="0">
                <a:solidFill>
                  <a:srgbClr val="002776"/>
                </a:solidFill>
              </a:rPr>
              <a:t>width = 200px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022502" y="1665288"/>
            <a:ext cx="5807174" cy="26146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pPr lvl="0"/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895599" y="4769512"/>
            <a:ext cx="1857375" cy="1343950"/>
          </a:xfrm>
          <a:prstGeom prst="rect">
            <a:avLst/>
          </a:prstGeo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848225" y="4769512"/>
            <a:ext cx="1857375" cy="1343950"/>
          </a:xfrm>
          <a:prstGeom prst="rect">
            <a:avLst/>
          </a:prstGeo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800850" y="4769512"/>
            <a:ext cx="1857375" cy="1343950"/>
          </a:xfrm>
          <a:prstGeom prst="rect">
            <a:avLst/>
          </a:prstGeo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2895600" y="4473444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dirty="0" smtClean="0">
                <a:solidFill>
                  <a:srgbClr val="002776"/>
                </a:solidFill>
              </a:rPr>
              <a:t>Practic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4848225" y="4473444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dirty="0" smtClean="0">
                <a:solidFill>
                  <a:srgbClr val="002776"/>
                </a:solidFill>
              </a:rPr>
              <a:t>Education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6800850" y="4473444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dirty="0" smtClean="0">
                <a:solidFill>
                  <a:srgbClr val="002776"/>
                </a:solidFill>
              </a:rPr>
              <a:t>Bar Admission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rot="5400000" flipH="1" flipV="1">
            <a:off x="3934886" y="5246955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5400000" flipH="1" flipV="1">
            <a:off x="5887512" y="5246956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 flipH="1" flipV="1">
            <a:off x="1975816" y="5246955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H="1" flipV="1">
            <a:off x="904875" y="4391025"/>
            <a:ext cx="7915277" cy="1552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6974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31988"/>
            <a:ext cx="8229600" cy="4305299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19237" y="6446840"/>
            <a:ext cx="956452" cy="246063"/>
          </a:xfrm>
        </p:spPr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496815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0" name="Picture 4" descr="NCMA - National Contract Management Association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80682" y="6163457"/>
            <a:ext cx="1139250" cy="694543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9149" y="3133725"/>
            <a:ext cx="5286375" cy="9144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8901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09625" y="3162300"/>
            <a:ext cx="4419600" cy="876300"/>
          </a:xfrm>
        </p:spPr>
        <p:txBody>
          <a:bodyPr>
            <a:normAutofit/>
          </a:bodyPr>
          <a:lstStyle>
            <a:lvl1pPr>
              <a:def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ank You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9366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194267"/>
            <a:ext cx="7791450" cy="55820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904875" y="1598613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 typeface="Arial" pitchFamily="34" charset="0"/>
              <a:buChar char="»"/>
              <a:def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US" dirty="0" smtClean="0"/>
              <a:t>Type Name Her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ddress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ity, State, Zip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hone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mail</a:t>
            </a:r>
            <a:endParaRPr lang="en-US" dirty="0"/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53000" y="1598614"/>
            <a:ext cx="3724275" cy="4240212"/>
          </a:xfrm>
          <a:prstGeom prst="rect">
            <a:avLst/>
          </a:prstGeom>
        </p:spPr>
        <p:txBody>
          <a:bodyPr>
            <a:noAutofit/>
          </a:bodyPr>
          <a:lstStyle>
            <a:lvl1pPr marL="233363" indent="-233363">
              <a:buClr>
                <a:srgbClr val="00A9E0"/>
              </a:buClr>
              <a:buFont typeface="Arial" pitchFamily="34" charset="0"/>
              <a:buChar char="»"/>
              <a:defRPr kumimoji="0" lang="en-US" sz="2000" b="1" i="0" u="none" strike="noStrike" kern="1200" cap="none" spc="0" normalizeH="0" baseline="0" noProof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</a:defRPr>
            </a:lvl1pPr>
          </a:lstStyle>
          <a:p>
            <a:pPr lvl="0"/>
            <a:r>
              <a:rPr lang="en-US" dirty="0" smtClean="0"/>
              <a:t>Type Name Her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ddress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ity, State, Zip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hone</a:t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mail</a:t>
            </a:r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42125952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4875" y="203792"/>
            <a:ext cx="7781924" cy="53915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4875" y="1189038"/>
            <a:ext cx="7781924" cy="498316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buFont typeface="Arial" pitchFamily="34" charset="0"/>
              <a:buChar char="»"/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Sub-Title Top Guide 6.2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Chart-Title Top Guide 5.35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Top Guide 4.16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Body Bottom Guide 7.80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Left 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Right</a:t>
            </a:r>
            <a:br>
              <a:rPr lang="en-US" sz="700" dirty="0" smtClean="0">
                <a:solidFill>
                  <a:srgbClr val="002776"/>
                </a:solidFill>
              </a:rPr>
            </a:br>
            <a:r>
              <a:rPr lang="en-US" sz="700" dirty="0" smtClean="0">
                <a:solidFill>
                  <a:srgbClr val="002776"/>
                </a:solidFill>
              </a:rPr>
              <a:t>guide</a:t>
            </a:r>
          </a:p>
          <a:p>
            <a:pPr algn="ctr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700" dirty="0" smtClean="0">
                <a:solidFill>
                  <a:srgbClr val="002776"/>
                </a:solidFill>
              </a:rPr>
              <a:t>11.42</a:t>
            </a:r>
            <a:endParaRPr lang="en-US" sz="700" i="1" dirty="0" smtClean="0">
              <a:solidFill>
                <a:srgbClr val="002776"/>
              </a:solidFill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48025" y="6261104"/>
            <a:ext cx="4357688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1802074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751" y="1223762"/>
            <a:ext cx="8229600" cy="504825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931988"/>
            <a:ext cx="3911601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688" y="1931988"/>
            <a:ext cx="3924000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496815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4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931988"/>
            <a:ext cx="3922713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1688" y="1931988"/>
            <a:ext cx="3924000" cy="430529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7200" y="1496815"/>
            <a:ext cx="3922713" cy="435173"/>
          </a:xfrm>
        </p:spPr>
        <p:txBody>
          <a:bodyPr anchor="b">
            <a:noAutofit/>
          </a:bodyPr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4751688" y="1496815"/>
            <a:ext cx="3924000" cy="435173"/>
          </a:xfrm>
        </p:spPr>
        <p:txBody>
          <a:bodyPr anchor="b">
            <a:noAutofit/>
          </a:bodyPr>
          <a:lstStyle>
            <a:lvl1pPr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1336675" y="1052736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-Title Top Guide 6.2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Content Placeholder 5"/>
          <p:cNvSpPr txBox="1">
            <a:spLocks/>
          </p:cNvSpPr>
          <p:nvPr userDrawn="1"/>
        </p:nvSpPr>
        <p:spPr>
          <a:xfrm>
            <a:off x="-1336675" y="1374047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art-Title Top Guide 5.35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Content Placeholder 5"/>
          <p:cNvSpPr txBox="1">
            <a:spLocks/>
          </p:cNvSpPr>
          <p:nvPr userDrawn="1"/>
        </p:nvSpPr>
        <p:spPr>
          <a:xfrm>
            <a:off x="-1336675" y="1801323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op Guide 4.16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Content Placeholder 5"/>
          <p:cNvSpPr txBox="1">
            <a:spLocks/>
          </p:cNvSpPr>
          <p:nvPr userDrawn="1"/>
        </p:nvSpPr>
        <p:spPr>
          <a:xfrm>
            <a:off x="-1336675" y="6104160"/>
            <a:ext cx="1258340" cy="266254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36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Bottom Guide 7.80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Content Placeholder 5"/>
          <p:cNvSpPr txBox="1">
            <a:spLocks/>
          </p:cNvSpPr>
          <p:nvPr userDrawn="1"/>
        </p:nvSpPr>
        <p:spPr>
          <a:xfrm rot="16200000">
            <a:off x="218726" y="6924600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ft 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Content Placeholder 5"/>
          <p:cNvSpPr txBox="1">
            <a:spLocks/>
          </p:cNvSpPr>
          <p:nvPr userDrawn="1"/>
        </p:nvSpPr>
        <p:spPr>
          <a:xfrm rot="16200000">
            <a:off x="8440388" y="6924602"/>
            <a:ext cx="476947" cy="45273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vert="vert" lIns="0" tIns="0" rIns="0" bIns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</a:t>
            </a:r>
            <a:b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42</a:t>
            </a:r>
            <a:endParaRPr kumimoji="0" lang="en-US" sz="700" b="0" i="1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7200" y="1665288"/>
            <a:ext cx="3922713" cy="457199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752974" y="1665288"/>
            <a:ext cx="3922713" cy="4571998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68563" y="6261104"/>
            <a:ext cx="5137150" cy="431800"/>
          </a:xfrm>
        </p:spPr>
        <p:txBody>
          <a:bodyPr vert="horz" lIns="91440" tIns="45720" rIns="91440" bIns="45720" rtlCol="0" anchor="b">
            <a:normAutofit/>
          </a:bodyPr>
          <a:lstStyle>
            <a:lvl1pPr marL="0" algn="l" defTabSz="914400" rtl="0" eaLnBrk="1" latinLnBrk="0" hangingPunct="1"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Add source or notes her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9" name="Content Placeholder 5"/>
          <p:cNvSpPr txBox="1">
            <a:spLocks/>
          </p:cNvSpPr>
          <p:nvPr userDrawn="1"/>
        </p:nvSpPr>
        <p:spPr>
          <a:xfrm>
            <a:off x="9289143" y="1646069"/>
            <a:ext cx="2551473" cy="4591217"/>
          </a:xfrm>
          <a:prstGeom prst="roundRect">
            <a:avLst/>
          </a:prstGeom>
          <a:solidFill>
            <a:schemeClr val="bg2"/>
          </a:solidFill>
        </p:spPr>
        <p:txBody>
          <a:bodyPr lIns="36000" rIns="36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photos that we have copyright permission can be used in PowerPoint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 NOT use photos off of Google or any photo sites without legally purchasing the im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this comment will not be appear on print-outs nor in slideshow mode)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7591"/>
            <a:ext cx="8229600" cy="90110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Bio Slide Samp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199" y="1657350"/>
            <a:ext cx="1908525" cy="215265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Insert </a:t>
            </a:r>
            <a:br>
              <a:rPr lang="en-US" dirty="0" smtClean="0"/>
            </a:br>
            <a:r>
              <a:rPr lang="en-US" dirty="0" smtClean="0"/>
              <a:t>Photo </a:t>
            </a:r>
            <a:br>
              <a:rPr lang="en-US" dirty="0" smtClean="0"/>
            </a:br>
            <a:r>
              <a:rPr lang="en-US" dirty="0" smtClean="0"/>
              <a:t>Her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189038"/>
            <a:ext cx="8229600" cy="30777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1" i="0" baseline="0">
                <a:latin typeface="+mj-lt"/>
              </a:defRPr>
            </a:lvl1pPr>
            <a:lvl2pPr>
              <a:defRPr sz="1800" b="1">
                <a:latin typeface="+mj-lt"/>
              </a:defRPr>
            </a:lvl2pPr>
            <a:lvl3pPr>
              <a:defRPr sz="1800" b="1">
                <a:latin typeface="+mj-lt"/>
              </a:defRPr>
            </a:lvl3pPr>
            <a:lvl4pPr>
              <a:defRPr sz="1800" b="1">
                <a:latin typeface="+mj-lt"/>
              </a:defRPr>
            </a:lvl4pPr>
            <a:lvl5pPr>
              <a:defRPr sz="1800" b="1">
                <a:latin typeface="+mj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Name Her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4578218"/>
            <a:ext cx="2303487" cy="1659069"/>
          </a:xfrm>
        </p:spPr>
        <p:txBody>
          <a:bodyPr/>
          <a:lstStyle>
            <a:lvl1pPr>
              <a:defRPr sz="1300" b="0"/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hone </a:t>
            </a:r>
            <a:br>
              <a:rPr lang="en-US" dirty="0" smtClean="0"/>
            </a:br>
            <a:r>
              <a:rPr lang="en-US" dirty="0" smtClean="0"/>
              <a:t>Email </a:t>
            </a:r>
            <a:br>
              <a:rPr lang="en-US" dirty="0" smtClean="0"/>
            </a:br>
            <a:r>
              <a:rPr lang="en-US" dirty="0" smtClean="0"/>
              <a:t>City, State</a:t>
            </a:r>
            <a:endParaRPr lang="en-US" dirty="0"/>
          </a:p>
        </p:txBody>
      </p:sp>
      <p:sp>
        <p:nvSpPr>
          <p:cNvPr id="18" name="Content Placeholder 5"/>
          <p:cNvSpPr txBox="1">
            <a:spLocks/>
          </p:cNvSpPr>
          <p:nvPr userDrawn="1"/>
        </p:nvSpPr>
        <p:spPr>
          <a:xfrm>
            <a:off x="-2791732" y="4203552"/>
            <a:ext cx="2551473" cy="1965822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1: Name (bold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2:  Title (bold)</a:t>
            </a:r>
            <a:b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3:  (blank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4: Phone numb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5: Email addr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e 6: City, State</a:t>
            </a:r>
          </a:p>
        </p:txBody>
      </p:sp>
      <p:sp>
        <p:nvSpPr>
          <p:cNvPr id="19" name="Content Placeholder 5"/>
          <p:cNvSpPr txBox="1">
            <a:spLocks/>
          </p:cNvSpPr>
          <p:nvPr userDrawn="1"/>
        </p:nvSpPr>
        <p:spPr>
          <a:xfrm>
            <a:off x="-2791732" y="1812842"/>
            <a:ext cx="2551473" cy="1638466"/>
          </a:xfrm>
          <a:prstGeom prst="homePlate">
            <a:avLst>
              <a:gd name="adj" fmla="val 13789"/>
            </a:avLst>
          </a:prstGeom>
          <a:solidFill>
            <a:schemeClr val="bg2"/>
          </a:solidFill>
        </p:spPr>
        <p:txBody>
          <a:bodyPr lIns="144000" rIns="36000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include a black &amp; white pictu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ight = 230p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dth = 200px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55776" y="1665288"/>
            <a:ext cx="6119912" cy="2614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pPr lvl="0"/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Insert your bio 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895599" y="4893337"/>
            <a:ext cx="1857375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4848225" y="4893337"/>
            <a:ext cx="1857375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800850" y="4893337"/>
            <a:ext cx="1857375" cy="1343950"/>
          </a:xfrm>
        </p:spPr>
        <p:txBody>
          <a:bodyPr/>
          <a:lstStyle>
            <a:lvl1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300"/>
            </a:lvl1pPr>
            <a:lvl2pPr marL="276225" indent="-276225">
              <a:buFont typeface="Arial" pitchFamily="34" charset="0"/>
              <a:buNone/>
              <a:defRPr/>
            </a:lvl2pPr>
          </a:lstStyle>
          <a:p>
            <a:pPr lvl="0"/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Lis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2895600" y="4578219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actic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4848225" y="4578219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ducation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6800850" y="4578219"/>
            <a:ext cx="1857375" cy="2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76225" lvl="1" indent="-276225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sz="13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r Admission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rot="5400000" flipH="1" flipV="1">
            <a:off x="3934886" y="5370780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5400000" flipH="1" flipV="1">
            <a:off x="5887512" y="5370781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 flipH="1" flipV="1">
            <a:off x="1975816" y="5370780"/>
            <a:ext cx="1731427" cy="158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rot="10800000">
            <a:off x="457201" y="4503478"/>
            <a:ext cx="8201025" cy="78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6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itle 1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752975" y="1341439"/>
            <a:ext cx="3922713" cy="232409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Questions?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397500" y="3886200"/>
            <a:ext cx="3278188" cy="400110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en-US" sz="2000" b="1" i="0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rPr>
              <a:t>www.hklaw.com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>
          <a:xfrm>
            <a:off x="0" y="5921376"/>
            <a:ext cx="9144000" cy="2008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H&amp;K-PPT-FINAL-0610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 l="888" t="888"/>
          <a:stretch>
            <a:fillRect/>
          </a:stretch>
        </p:blipFill>
        <p:spPr>
          <a:xfrm>
            <a:off x="0" y="914399"/>
            <a:ext cx="9144000" cy="5006977"/>
          </a:xfrm>
          <a:prstGeom prst="rect">
            <a:avLst/>
          </a:prstGeom>
          <a:ln>
            <a:noFill/>
          </a:ln>
        </p:spPr>
      </p:pic>
      <p:sp>
        <p:nvSpPr>
          <p:cNvPr id="18" name="Rectangle 17"/>
          <p:cNvSpPr/>
          <p:nvPr userDrawn="1">
            <p:custDataLst>
              <p:tags r:id="rId5"/>
            </p:custDataLst>
          </p:nvPr>
        </p:nvSpPr>
        <p:spPr>
          <a:xfrm>
            <a:off x="0" y="862189"/>
            <a:ext cx="9144000" cy="5220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itle 1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752975" y="1341439"/>
            <a:ext cx="3922713" cy="2324099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 You!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397500" y="3886200"/>
            <a:ext cx="3278188" cy="400110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</a:pPr>
            <a:r>
              <a:rPr lang="en-US" sz="2000" b="1" i="0" kern="1200" dirty="0" smtClean="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rPr>
              <a:t>www.hklaw.com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27591"/>
            <a:ext cx="8229600" cy="901109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3363"/>
            <a:ext cx="8229600" cy="47339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19237" y="6446669"/>
            <a:ext cx="956452" cy="246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1060704"/>
            <a:ext cx="9144000" cy="0"/>
          </a:xfrm>
          <a:prstGeom prst="line">
            <a:avLst/>
          </a:prstGeom>
          <a:ln w="50800">
            <a:solidFill>
              <a:srgbClr val="00A9E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 descr="HKLogo-RBG-FullW.jpg"/>
          <p:cNvPicPr>
            <a:picLocks noChangeAspect="1"/>
          </p:cNvPicPr>
          <p:nvPr/>
        </p:nvPicPr>
        <p:blipFill>
          <a:blip r:embed="rId13" cstate="print"/>
          <a:srcRect l="1505" t="6969" b="5977"/>
          <a:stretch>
            <a:fillRect/>
          </a:stretch>
        </p:blipFill>
        <p:spPr>
          <a:xfrm>
            <a:off x="455613" y="6437338"/>
            <a:ext cx="1828800" cy="25143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0" r:id="rId3"/>
    <p:sldLayoutId id="2147483651" r:id="rId4"/>
    <p:sldLayoutId id="2147483652" r:id="rId5"/>
    <p:sldLayoutId id="2147483656" r:id="rId6"/>
    <p:sldLayoutId id="2147483661" r:id="rId7"/>
    <p:sldLayoutId id="2147483660" r:id="rId8"/>
    <p:sldLayoutId id="2147483654" r:id="rId9"/>
    <p:sldLayoutId id="2147483659" r:id="rId10"/>
    <p:sldLayoutId id="2147483662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6225" indent="-276225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66700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19150" indent="-277813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3150" indent="-254000" algn="l" defTabSz="914400" rtl="0" eaLnBrk="1" latinLnBrk="0" hangingPunct="1">
        <a:spcBef>
          <a:spcPts val="300"/>
        </a:spcBef>
        <a:spcAft>
          <a:spcPts val="300"/>
        </a:spcAft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owerPoint-Background_Template-3.14-INSIDESLIDE-header.jp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19237" y="6446669"/>
            <a:ext cx="956452" cy="246063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rgbClr val="00A9E0"/>
                </a:solidFill>
              </a:defRPr>
            </a:lvl1pPr>
          </a:lstStyle>
          <a:p>
            <a:fld id="{E91CA0B9-F148-4D36-99AA-F3695E16ED2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885824" y="190500"/>
            <a:ext cx="8086725" cy="548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857250" y="1181100"/>
            <a:ext cx="7829550" cy="4945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Font typeface="Arial" pitchFamily="34" charset="0"/>
              <a:buChar char="»"/>
              <a:defRPr sz="1000">
                <a:solidFill>
                  <a:srgbClr val="002776"/>
                </a:solidFill>
              </a:defRPr>
            </a:lvl1pPr>
          </a:lstStyle>
          <a:p>
            <a:r>
              <a:rPr lang="en-US" dirty="0" smtClean="0"/>
              <a:t> Add source or notes here</a:t>
            </a:r>
          </a:p>
        </p:txBody>
      </p:sp>
    </p:spTree>
    <p:extLst>
      <p:ext uri="{BB962C8B-B14F-4D97-AF65-F5344CB8AC3E}">
        <p14:creationId xmlns:p14="http://schemas.microsoft.com/office/powerpoint/2010/main" val="3674664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7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»"/>
        <a:defRPr sz="1800" kern="1200">
          <a:solidFill>
            <a:srgbClr val="000000"/>
          </a:solidFill>
          <a:latin typeface="+mn-lt"/>
          <a:ea typeface="+mn-ea"/>
          <a:cs typeface="+mn-cs"/>
        </a:defRPr>
      </a:lvl1pPr>
      <a:lvl2pPr marL="514350" indent="-276225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˗"/>
        <a:defRPr lang="en-US" sz="1600" kern="1200" dirty="0" smtClean="0">
          <a:solidFill>
            <a:srgbClr val="000000"/>
          </a:solidFill>
          <a:latin typeface="+mn-lt"/>
          <a:ea typeface="+mn-ea"/>
          <a:cs typeface="+mn-cs"/>
        </a:defRPr>
      </a:lvl2pPr>
      <a:lvl3pPr marL="542925" indent="-266700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None/>
        <a:defRPr lang="en-US" sz="1600" kern="1200" dirty="0" smtClean="0">
          <a:solidFill>
            <a:srgbClr val="000000"/>
          </a:solidFill>
          <a:latin typeface="+mn-lt"/>
          <a:ea typeface="+mn-ea"/>
          <a:cs typeface="+mn-cs"/>
        </a:defRPr>
      </a:lvl3pPr>
      <a:lvl4pPr marL="819150" indent="-277813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Arial" pitchFamily="34" charset="0"/>
        <a:buChar char="•"/>
        <a:defRPr lang="en-US" sz="1400" kern="1200" dirty="0" smtClean="0">
          <a:solidFill>
            <a:srgbClr val="000000"/>
          </a:solidFill>
          <a:latin typeface="+mn-lt"/>
          <a:ea typeface="+mn-ea"/>
          <a:cs typeface="+mn-cs"/>
        </a:defRPr>
      </a:lvl4pPr>
      <a:lvl5pPr marL="1073150" indent="-254000" algn="l" defTabSz="914400" rtl="0" eaLnBrk="1" latinLnBrk="0" hangingPunct="1">
        <a:spcBef>
          <a:spcPts val="300"/>
        </a:spcBef>
        <a:spcAft>
          <a:spcPts val="300"/>
        </a:spcAft>
        <a:buClr>
          <a:srgbClr val="00A9E0"/>
        </a:buClr>
        <a:buFont typeface="Wingdings" pitchFamily="2" charset="2"/>
        <a:buChar char="§"/>
        <a:defRPr lang="en-US" sz="1200" kern="1200" dirty="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hyperlink" Target="mailto:david.black@hklaw.com" TargetMode="Externa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1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2.jpg"/><Relationship Id="rId4" Type="http://schemas.openxmlformats.org/officeDocument/2006/relationships/image" Target="../media/image21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1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11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1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1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1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554877" y="1552332"/>
            <a:ext cx="8207375" cy="1202499"/>
          </a:xfrm>
        </p:spPr>
        <p:txBody>
          <a:bodyPr>
            <a:normAutofit fontScale="90000"/>
          </a:bodyPr>
          <a:lstStyle/>
          <a:p>
            <a:r>
              <a:rPr lang="en-US" sz="44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n-US" sz="4400" dirty="0" smtClean="0">
                <a:latin typeface="Calibri" pitchFamily="34" charset="0"/>
                <a:cs typeface="Calibri" pitchFamily="34" charset="0"/>
              </a:rPr>
            </a:br>
            <a:r>
              <a:rPr lang="en-US" sz="4400" dirty="0" smtClean="0">
                <a:latin typeface="Calibri" pitchFamily="34" charset="0"/>
                <a:cs typeface="Calibri" pitchFamily="34" charset="0"/>
              </a:rPr>
              <a:t>UNDERSTANDING</a:t>
            </a:r>
            <a:br>
              <a:rPr lang="en-US" sz="4400" dirty="0" smtClean="0">
                <a:latin typeface="Calibri" pitchFamily="34" charset="0"/>
                <a:cs typeface="Calibri" pitchFamily="34" charset="0"/>
              </a:rPr>
            </a:br>
            <a:r>
              <a:rPr lang="en-US" sz="4400" dirty="0" smtClean="0">
                <a:latin typeface="Calibri" pitchFamily="34" charset="0"/>
                <a:cs typeface="Calibri" pitchFamily="34" charset="0"/>
              </a:rPr>
              <a:t>INTELLECTUAL PROPERTY RIGHTS</a:t>
            </a:r>
            <a:br>
              <a:rPr lang="en-US" sz="4400" dirty="0" smtClean="0">
                <a:latin typeface="Calibri" pitchFamily="34" charset="0"/>
                <a:cs typeface="Calibri" pitchFamily="34" charset="0"/>
              </a:rPr>
            </a:br>
            <a:r>
              <a:rPr lang="en-US" sz="4400" dirty="0" smtClean="0">
                <a:latin typeface="Calibri" pitchFamily="34" charset="0"/>
                <a:cs typeface="Calibri" pitchFamily="34" charset="0"/>
              </a:rPr>
              <a:t>IN TECHNOLOGY DELIVERED </a:t>
            </a:r>
            <a:br>
              <a:rPr lang="en-US" sz="4400" dirty="0" smtClean="0">
                <a:latin typeface="Calibri" pitchFamily="34" charset="0"/>
                <a:cs typeface="Calibri" pitchFamily="34" charset="0"/>
              </a:rPr>
            </a:br>
            <a:r>
              <a:rPr lang="en-US" sz="4400" dirty="0" smtClean="0">
                <a:latin typeface="Calibri" pitchFamily="34" charset="0"/>
                <a:cs typeface="Calibri" pitchFamily="34" charset="0"/>
              </a:rPr>
              <a:t>UNDER FEDERAL CONTRACTS</a:t>
            </a:r>
            <a:endParaRPr lang="en-US" sz="4400" i="1" dirty="0">
              <a:solidFill>
                <a:srgbClr val="FFFF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8312" y="4697259"/>
            <a:ext cx="8207375" cy="1315233"/>
          </a:xfrm>
        </p:spPr>
        <p:txBody>
          <a:bodyPr>
            <a:normAutofit/>
          </a:bodyPr>
          <a:lstStyle/>
          <a:p>
            <a:r>
              <a:rPr lang="en-US" sz="3200" dirty="0" smtClean="0">
                <a:latin typeface="Calibri" pitchFamily="34" charset="0"/>
                <a:cs typeface="Calibri" pitchFamily="34" charset="0"/>
              </a:rPr>
              <a:t>Holland &amp; Knight LLP </a:t>
            </a:r>
          </a:p>
          <a:p>
            <a:endParaRPr lang="en-US" sz="2800" dirty="0" smtClean="0">
              <a:latin typeface="Calibri" pitchFamily="34" charset="0"/>
              <a:cs typeface="Calibri" pitchFamily="34" charset="0"/>
            </a:endParaRPr>
          </a:p>
          <a:p>
            <a:r>
              <a:rPr lang="en-US" sz="2800" dirty="0" smtClean="0">
                <a:latin typeface="Calibri" pitchFamily="34" charset="0"/>
                <a:cs typeface="Calibri" pitchFamily="34" charset="0"/>
              </a:rPr>
              <a:t>March </a:t>
            </a:r>
            <a:r>
              <a:rPr lang="en-US" sz="2800" dirty="0">
                <a:latin typeface="Calibri" pitchFamily="34" charset="0"/>
                <a:cs typeface="Calibri" pitchFamily="34" charset="0"/>
              </a:rPr>
              <a:t>7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, 2018</a:t>
            </a:r>
            <a:endParaRPr lang="en-US" sz="28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68313" y="3532341"/>
            <a:ext cx="8207375" cy="913944"/>
          </a:xfrm>
        </p:spPr>
        <p:txBody>
          <a:bodyPr>
            <a:normAutofit/>
          </a:bodyPr>
          <a:lstStyle/>
          <a:p>
            <a:r>
              <a:rPr lang="en-US" sz="4000" dirty="0" smtClean="0">
                <a:latin typeface="Calibri" pitchFamily="34" charset="0"/>
                <a:cs typeface="Calibri" pitchFamily="34" charset="0"/>
              </a:rPr>
              <a:t>David S. Black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877" y="2668770"/>
            <a:ext cx="3281832" cy="246137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54877" y="5159770"/>
            <a:ext cx="3281832" cy="646331"/>
          </a:xfrm>
          <a:prstGeom prst="rect">
            <a:avLst/>
          </a:prstGeom>
          <a:solidFill>
            <a:schemeClr val="bg1"/>
          </a:solidFill>
          <a:ln w="508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I WANT YOUR</a:t>
            </a:r>
          </a:p>
          <a:p>
            <a:pPr algn="ctr"/>
            <a:r>
              <a:rPr lang="en-US" b="1" dirty="0" smtClean="0">
                <a:solidFill>
                  <a:srgbClr val="FF0000"/>
                </a:solidFill>
              </a:rPr>
              <a:t>INNOVATIVE TECHNOLOGY</a:t>
            </a:r>
            <a:endParaRPr lang="en-US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FEDERAL POLICY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231" y="1028700"/>
            <a:ext cx="8785781" cy="5050171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b="1" dirty="0" smtClean="0">
                <a:latin typeface="Calibri" panose="020F0502020204030204" pitchFamily="34" charset="0"/>
              </a:rPr>
              <a:t>DFARS Part 227.72 – </a:t>
            </a:r>
            <a:r>
              <a:rPr lang="en-US" sz="2600" b="1" u="sng" dirty="0" smtClean="0">
                <a:latin typeface="Calibri" panose="020F0502020204030204" pitchFamily="34" charset="0"/>
              </a:rPr>
              <a:t>Noncommercial</a:t>
            </a:r>
            <a:r>
              <a:rPr lang="en-US" sz="2600" b="1" dirty="0" smtClean="0">
                <a:latin typeface="Calibri" panose="020F0502020204030204" pitchFamily="34" charset="0"/>
              </a:rPr>
              <a:t> Computer Software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 smtClean="0">
                <a:latin typeface="Calibri" panose="020F0502020204030204" pitchFamily="34" charset="0"/>
              </a:rPr>
              <a:t>Acquire only the rights in computer software and related documentation </a:t>
            </a:r>
            <a:r>
              <a:rPr lang="en-US" sz="2600" b="1" u="sng" dirty="0" smtClean="0">
                <a:latin typeface="Calibri" panose="020F0502020204030204" pitchFamily="34" charset="0"/>
              </a:rPr>
              <a:t>necessary to satisfy agency needs</a:t>
            </a:r>
            <a:r>
              <a:rPr lang="en-US" sz="2600" dirty="0" smtClean="0">
                <a:latin typeface="Calibri" panose="020F0502020204030204" pitchFamily="34" charset="0"/>
              </a:rPr>
              <a:t>.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>
                <a:latin typeface="Calibri" panose="020F0502020204030204" pitchFamily="34" charset="0"/>
              </a:rPr>
              <a:t>Solicitations</a:t>
            </a:r>
            <a:r>
              <a:rPr lang="en-US" sz="2600" dirty="0">
                <a:latin typeface="Calibri" panose="020F0502020204030204" pitchFamily="34" charset="0"/>
              </a:rPr>
              <a:t> shall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 smtClean="0">
                <a:latin typeface="Calibri" panose="020F0502020204030204" pitchFamily="34" charset="0"/>
              </a:rPr>
              <a:t>Computer </a:t>
            </a:r>
            <a:r>
              <a:rPr lang="en-US" sz="2600" dirty="0" smtClean="0">
                <a:latin typeface="Calibri" panose="020F0502020204030204" pitchFamily="34" charset="0"/>
              </a:rPr>
              <a:t>software/documentation </a:t>
            </a:r>
            <a:r>
              <a:rPr lang="en-US" sz="2600" dirty="0" smtClean="0">
                <a:latin typeface="Calibri" panose="020F0502020204030204" pitchFamily="34" charset="0"/>
              </a:rPr>
              <a:t>to </a:t>
            </a:r>
            <a:r>
              <a:rPr lang="en-US" sz="2600" dirty="0">
                <a:latin typeface="Calibri" panose="020F0502020204030204" pitchFamily="34" charset="0"/>
              </a:rPr>
              <a:t>be delivered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>
                <a:latin typeface="Calibri" panose="020F0502020204030204" pitchFamily="34" charset="0"/>
              </a:rPr>
              <a:t>Establish CLINs with contract prices for deliverable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>
                <a:latin typeface="Calibri" panose="020F0502020204030204" pitchFamily="34" charset="0"/>
              </a:rPr>
              <a:t>Require offerors to identify </a:t>
            </a:r>
            <a:r>
              <a:rPr lang="en-US" sz="2600" dirty="0" smtClean="0">
                <a:latin typeface="Calibri" panose="020F0502020204030204" pitchFamily="34" charset="0"/>
              </a:rPr>
              <a:t>computer software/documentation to </a:t>
            </a:r>
            <a:r>
              <a:rPr lang="en-US" sz="2600" dirty="0">
                <a:latin typeface="Calibri" panose="020F0502020204030204" pitchFamily="34" charset="0"/>
              </a:rPr>
              <a:t>be furnished with restrictions on Government’s right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>
                <a:latin typeface="Calibri" panose="020F0502020204030204" pitchFamily="34" charset="0"/>
              </a:rPr>
              <a:t>Offerors shall not be required to relinquish rights</a:t>
            </a:r>
            <a:r>
              <a:rPr lang="en-US" sz="2600" dirty="0">
                <a:latin typeface="Calibri" panose="020F0502020204030204" pitchFamily="34" charset="0"/>
              </a:rPr>
              <a:t> to the Government as condition for award</a:t>
            </a:r>
          </a:p>
          <a:p>
            <a:pPr marL="561975" lvl="1" indent="-285750">
              <a:spcAft>
                <a:spcPts val="1800"/>
              </a:spcAft>
            </a:pPr>
            <a:endParaRPr lang="en-US" sz="2400" dirty="0" smtClean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4580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FEDERAL POLICY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DFARS Part 227.72 – </a:t>
            </a:r>
            <a:r>
              <a:rPr lang="en-US" sz="2800" b="1" u="sng" dirty="0" smtClean="0">
                <a:latin typeface="Calibri" panose="020F0502020204030204" pitchFamily="34" charset="0"/>
              </a:rPr>
              <a:t>Commercial</a:t>
            </a:r>
            <a:r>
              <a:rPr lang="en-US" sz="2800" b="1" dirty="0" smtClean="0">
                <a:latin typeface="Calibri" panose="020F0502020204030204" pitchFamily="34" charset="0"/>
              </a:rPr>
              <a:t> Computer Software</a:t>
            </a:r>
          </a:p>
          <a:p>
            <a:pPr marL="561975" lvl="1" indent="-285750"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ommercial software shall be acquired under the </a:t>
            </a:r>
            <a:r>
              <a:rPr lang="en-US" sz="2800" b="1" u="sng" dirty="0" smtClean="0">
                <a:latin typeface="Calibri" panose="020F0502020204030204" pitchFamily="34" charset="0"/>
              </a:rPr>
              <a:t>licenses customarily provided to the public</a:t>
            </a:r>
          </a:p>
          <a:p>
            <a:pPr marL="828675" lvl="2" indent="-285750">
              <a:spcAft>
                <a:spcPts val="18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No requirement to furnish to the Government</a:t>
            </a:r>
            <a:r>
              <a:rPr lang="en-US" sz="2800" dirty="0" smtClean="0">
                <a:latin typeface="Calibri" panose="020F0502020204030204" pitchFamily="34" charset="0"/>
              </a:rPr>
              <a:t> technical information not customarily provided to the public</a:t>
            </a:r>
          </a:p>
          <a:p>
            <a:pPr marL="828675" lvl="2" indent="-285750">
              <a:spcAft>
                <a:spcPts val="18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No requirement to relinquish to the Government</a:t>
            </a:r>
            <a:r>
              <a:rPr lang="en-US" sz="2800" dirty="0" smtClean="0">
                <a:latin typeface="Calibri" panose="020F0502020204030204" pitchFamily="34" charset="0"/>
              </a:rPr>
              <a:t> rights to use, modify, reproduce, or disclose the commercial software</a:t>
            </a:r>
          </a:p>
          <a:p>
            <a:pPr marL="561975" lvl="1" indent="-285750">
              <a:spcAft>
                <a:spcPts val="18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519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12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4778" y="1164920"/>
            <a:ext cx="8229600" cy="5109945"/>
          </a:xfrm>
        </p:spPr>
        <p:txBody>
          <a:bodyPr/>
          <a:lstStyle/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Overview of 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Intellectual Property Protection</a:t>
            </a:r>
          </a:p>
        </p:txBody>
      </p:sp>
    </p:spTree>
    <p:extLst>
      <p:ext uri="{BB962C8B-B14F-4D97-AF65-F5344CB8AC3E}">
        <p14:creationId xmlns:p14="http://schemas.microsoft.com/office/powerpoint/2010/main" val="34564436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WHY IT MATTERS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55700"/>
            <a:ext cx="8521700" cy="4923171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Three “Buckets” of Intellectual Property</a:t>
            </a: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100" y="3897481"/>
            <a:ext cx="2095501" cy="273253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3884781"/>
            <a:ext cx="2095501" cy="27325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900" y="3879732"/>
            <a:ext cx="2095501" cy="273253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9849" y="1689099"/>
            <a:ext cx="2660651" cy="2068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latin typeface="Calibri" panose="020F0502020204030204" pitchFamily="34" charset="0"/>
              </a:rPr>
              <a:t>Contract Deliverables</a:t>
            </a:r>
            <a:r>
              <a:rPr lang="en-US" sz="2400" dirty="0" smtClean="0">
                <a:latin typeface="Calibri" panose="020F0502020204030204" pitchFamily="34" charset="0"/>
              </a:rPr>
              <a:t>:</a:t>
            </a:r>
          </a:p>
          <a:p>
            <a:pPr algn="ctr"/>
            <a:r>
              <a:rPr lang="en-US" sz="2400" dirty="0" smtClean="0">
                <a:latin typeface="Calibri" panose="020F0502020204030204" pitchFamily="34" charset="0"/>
              </a:rPr>
              <a:t>Technical Data</a:t>
            </a:r>
          </a:p>
          <a:p>
            <a:pPr algn="ctr"/>
            <a:r>
              <a:rPr lang="en-US" sz="2400" dirty="0" smtClean="0">
                <a:latin typeface="Calibri" panose="020F0502020204030204" pitchFamily="34" charset="0"/>
              </a:rPr>
              <a:t>Computer Software</a:t>
            </a: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219451" y="1689099"/>
            <a:ext cx="2705098" cy="20683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latin typeface="Calibri" panose="020F0502020204030204" pitchFamily="34" charset="0"/>
              </a:rPr>
              <a:t>Technical Data &amp; </a:t>
            </a:r>
          </a:p>
          <a:p>
            <a:pPr algn="ctr"/>
            <a:r>
              <a:rPr lang="en-US" sz="2400" dirty="0" smtClean="0">
                <a:latin typeface="Calibri" panose="020F0502020204030204" pitchFamily="34" charset="0"/>
              </a:rPr>
              <a:t>Computer Software Developed but </a:t>
            </a:r>
          </a:p>
          <a:p>
            <a:pPr algn="ctr"/>
            <a:r>
              <a:rPr lang="en-US" sz="2400" b="1" dirty="0" smtClean="0">
                <a:latin typeface="Calibri" panose="020F0502020204030204" pitchFamily="34" charset="0"/>
              </a:rPr>
              <a:t>Not Specified as Deliverable</a:t>
            </a:r>
            <a:endParaRPr lang="en-US" sz="2400" b="1" dirty="0"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318249" y="1689099"/>
            <a:ext cx="2660651" cy="20683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latin typeface="Calibri" panose="020F0502020204030204" pitchFamily="34" charset="0"/>
              </a:rPr>
              <a:t>Other Data Generated During Performance </a:t>
            </a:r>
            <a:r>
              <a:rPr lang="en-US" sz="2400" dirty="0" smtClean="0">
                <a:latin typeface="Calibri" panose="020F0502020204030204" pitchFamily="34" charset="0"/>
              </a:rPr>
              <a:t>(Financial, Drafts, etc.)</a:t>
            </a: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4447" y="3769284"/>
            <a:ext cx="2889253" cy="308871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74000">
                <a:srgbClr val="CBE2F3"/>
              </a:gs>
              <a:gs pos="83000">
                <a:srgbClr val="CBE2F3"/>
              </a:gs>
              <a:gs pos="100000">
                <a:srgbClr val="CBE2F3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endParaRPr lang="en-US" sz="24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endParaRPr lang="en-US" sz="2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63500" indent="-635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FAR/DFARS Clauses Apply</a:t>
            </a:r>
          </a:p>
          <a:p>
            <a:pPr marL="63500" indent="-635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ontract Assertion Table</a:t>
            </a:r>
          </a:p>
          <a:p>
            <a:pPr marL="63500" indent="-635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Mark as Required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32930" y="3769284"/>
            <a:ext cx="2978155" cy="308871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74000">
                <a:srgbClr val="CBE2F3"/>
              </a:gs>
              <a:gs pos="83000">
                <a:srgbClr val="CBE2F3"/>
              </a:gs>
              <a:gs pos="100000">
                <a:srgbClr val="CBE2F3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endParaRPr lang="en-US" sz="24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endParaRPr lang="en-US" sz="2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FAR: Additional Data Requirements”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FARS: “Deferred Ordering”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21400" y="3742466"/>
            <a:ext cx="3016245" cy="308871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74000">
                <a:srgbClr val="CBE2F3"/>
              </a:gs>
              <a:gs pos="83000">
                <a:srgbClr val="CBE2F3"/>
              </a:gs>
              <a:gs pos="100000">
                <a:srgbClr val="CBE2F3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endParaRPr lang="en-US" sz="24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endParaRPr lang="en-US" sz="2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on’t Forget to Mark!</a:t>
            </a:r>
          </a:p>
          <a:p>
            <a:r>
              <a:rPr lang="en-US" sz="2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(In case of Govt’ Access)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3465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WHY IT MATTERS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81100"/>
            <a:ext cx="8521700" cy="4897771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Contractor retains “</a:t>
            </a:r>
            <a:r>
              <a:rPr lang="en-US" sz="2800" b="1" u="sng" dirty="0" smtClean="0">
                <a:latin typeface="Calibri" panose="020F0502020204030204" pitchFamily="34" charset="0"/>
              </a:rPr>
              <a:t>title</a:t>
            </a:r>
            <a:r>
              <a:rPr lang="en-US" sz="2800" b="1" dirty="0" smtClean="0">
                <a:latin typeface="Calibri" panose="020F0502020204030204" pitchFamily="34" charset="0"/>
              </a:rPr>
              <a:t>.”  Government gets a “</a:t>
            </a:r>
            <a:r>
              <a:rPr lang="en-US" sz="2800" b="1" u="sng" dirty="0" smtClean="0">
                <a:latin typeface="Calibri" panose="020F0502020204030204" pitchFamily="34" charset="0"/>
              </a:rPr>
              <a:t>license</a:t>
            </a:r>
            <a:r>
              <a:rPr lang="en-US" sz="2800" b="1" dirty="0" smtClean="0">
                <a:latin typeface="Calibri" panose="020F0502020204030204" pitchFamily="34" charset="0"/>
              </a:rPr>
              <a:t>.”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Extent of Government’s license determines </a:t>
            </a:r>
            <a:r>
              <a:rPr lang="en-US" sz="2800" b="1" u="sng" dirty="0" smtClean="0">
                <a:latin typeface="Calibri" panose="020F0502020204030204" pitchFamily="34" charset="0"/>
              </a:rPr>
              <a:t>commercial value of Contractor’s title</a:t>
            </a: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Right Arrow 4"/>
          <p:cNvSpPr/>
          <p:nvPr/>
        </p:nvSpPr>
        <p:spPr>
          <a:xfrm>
            <a:off x="4916529" y="4889978"/>
            <a:ext cx="4027197" cy="114558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u="sng" dirty="0" smtClean="0"/>
              <a:t>Less</a:t>
            </a:r>
            <a:r>
              <a:rPr lang="en-US" sz="2400" dirty="0" smtClean="0"/>
              <a:t> Commercial Value</a:t>
            </a:r>
            <a:endParaRPr lang="en-US" sz="2400" dirty="0"/>
          </a:p>
        </p:txBody>
      </p:sp>
      <p:sp>
        <p:nvSpPr>
          <p:cNvPr id="7" name="Left Arrow 6"/>
          <p:cNvSpPr/>
          <p:nvPr/>
        </p:nvSpPr>
        <p:spPr>
          <a:xfrm>
            <a:off x="457200" y="4889978"/>
            <a:ext cx="3836988" cy="1145585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u="sng" dirty="0" smtClean="0"/>
              <a:t>More</a:t>
            </a:r>
            <a:r>
              <a:rPr lang="en-US" sz="2400" dirty="0" smtClean="0"/>
              <a:t> Commercial Value</a:t>
            </a:r>
            <a:endParaRPr lang="en-US" sz="2400" dirty="0"/>
          </a:p>
        </p:txBody>
      </p:sp>
      <p:sp>
        <p:nvSpPr>
          <p:cNvPr id="8" name="TextBox 7"/>
          <p:cNvSpPr txBox="1"/>
          <p:nvPr/>
        </p:nvSpPr>
        <p:spPr>
          <a:xfrm>
            <a:off x="24591" y="3766881"/>
            <a:ext cx="1829348" cy="830997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Commercial</a:t>
            </a:r>
          </a:p>
          <a:p>
            <a:pPr algn="ctr"/>
            <a:r>
              <a:rPr lang="en-US" sz="2400" dirty="0" smtClean="0"/>
              <a:t>License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1873349" y="3766881"/>
            <a:ext cx="2682345" cy="83099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Limited/Restricted</a:t>
            </a:r>
          </a:p>
          <a:p>
            <a:pPr algn="ctr"/>
            <a:r>
              <a:rPr lang="en-US" sz="2400" dirty="0" smtClean="0"/>
              <a:t>Rights</a:t>
            </a:r>
            <a:endParaRPr lang="en-US" sz="2400" dirty="0"/>
          </a:p>
        </p:txBody>
      </p:sp>
      <p:sp>
        <p:nvSpPr>
          <p:cNvPr id="10" name="TextBox 9"/>
          <p:cNvSpPr txBox="1"/>
          <p:nvPr/>
        </p:nvSpPr>
        <p:spPr>
          <a:xfrm>
            <a:off x="5711433" y="3397549"/>
            <a:ext cx="1864858" cy="120032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Government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Purpose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Right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04412" y="3766881"/>
            <a:ext cx="1058303" cy="830997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SBIR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Right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73726" y="3766883"/>
            <a:ext cx="1470274" cy="83099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Unlimited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Right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898152"/>
            <a:ext cx="9144000" cy="4145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Calibri" panose="020F0502020204030204" pitchFamily="34" charset="0"/>
              </a:rPr>
              <a:t>Spectrum of License Rights</a:t>
            </a:r>
            <a:endParaRPr lang="en-US" sz="28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99921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WHY IT MATTERS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0800"/>
            <a:ext cx="8521700" cy="4758071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Intellectual Property Rights that Impact Commercial Value</a:t>
            </a: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5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826740066"/>
              </p:ext>
            </p:extLst>
          </p:nvPr>
        </p:nvGraphicFramePr>
        <p:xfrm>
          <a:off x="996950" y="1803400"/>
          <a:ext cx="7270750" cy="5016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Oval 12"/>
          <p:cNvSpPr/>
          <p:nvPr/>
        </p:nvSpPr>
        <p:spPr>
          <a:xfrm>
            <a:off x="0" y="3830084"/>
            <a:ext cx="2578100" cy="963133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Geographic Restriction</a:t>
            </a:r>
            <a:endParaRPr lang="en-US" sz="2400" dirty="0"/>
          </a:p>
        </p:txBody>
      </p:sp>
      <p:sp>
        <p:nvSpPr>
          <p:cNvPr id="14" name="Oval 13"/>
          <p:cNvSpPr/>
          <p:nvPr/>
        </p:nvSpPr>
        <p:spPr>
          <a:xfrm>
            <a:off x="6565900" y="3830084"/>
            <a:ext cx="2578100" cy="963133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/>
              <a:t>Temporal</a:t>
            </a:r>
          </a:p>
          <a:p>
            <a:pPr algn="ctr"/>
            <a:r>
              <a:rPr lang="en-US" sz="2400" dirty="0" smtClean="0"/>
              <a:t>Restrictio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1076373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WHY IT MATTERS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20800"/>
            <a:ext cx="8521700" cy="4758071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Factors that Impact Scope of the Government’s License</a:t>
            </a: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6</a:t>
            </a:fld>
            <a:endParaRPr lang="en-US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322760724"/>
              </p:ext>
            </p:extLst>
          </p:nvPr>
        </p:nvGraphicFramePr>
        <p:xfrm>
          <a:off x="406400" y="1604317"/>
          <a:ext cx="8623300" cy="2243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888418140"/>
              </p:ext>
            </p:extLst>
          </p:nvPr>
        </p:nvGraphicFramePr>
        <p:xfrm>
          <a:off x="514350" y="4605633"/>
          <a:ext cx="8407400" cy="18412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Rectangle 8"/>
          <p:cNvSpPr/>
          <p:nvPr/>
        </p:nvSpPr>
        <p:spPr>
          <a:xfrm>
            <a:off x="514350" y="3445170"/>
            <a:ext cx="2070100" cy="914400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reak down to </a:t>
            </a:r>
            <a:r>
              <a:rPr lang="en-US" b="1" u="sng" dirty="0" smtClean="0"/>
              <a:t>Lowest Practicable</a:t>
            </a:r>
            <a:r>
              <a:rPr lang="en-US" dirty="0" smtClean="0"/>
              <a:t> Level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3683000" y="3445170"/>
            <a:ext cx="2070100" cy="1304630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u="sng" dirty="0" smtClean="0"/>
              <a:t>Plan</a:t>
            </a:r>
            <a:r>
              <a:rPr lang="en-US" dirty="0" smtClean="0"/>
              <a:t> Funding Sources: Government and Private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6851650" y="3487885"/>
            <a:ext cx="2070100" cy="1304630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u="sng" dirty="0" smtClean="0"/>
              <a:t>Document </a:t>
            </a:r>
            <a:r>
              <a:rPr lang="en-US" dirty="0" smtClean="0"/>
              <a:t>Funding Sources: Government and Priv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2843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WHY IT MATTERS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104570"/>
            <a:ext cx="8826500" cy="4974302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Impact of Strategic Planning in Technology Development</a:t>
            </a: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610351189"/>
              </p:ext>
            </p:extLst>
          </p:nvPr>
        </p:nvGraphicFramePr>
        <p:xfrm>
          <a:off x="1663700" y="2209797"/>
          <a:ext cx="7315200" cy="46482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/>
          <p:cNvSpPr/>
          <p:nvPr/>
        </p:nvSpPr>
        <p:spPr>
          <a:xfrm>
            <a:off x="-12700" y="1574465"/>
            <a:ext cx="9144000" cy="648359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Contractor’s Rights in Tech. Data </a:t>
            </a:r>
            <a:r>
              <a:rPr lang="en-US" sz="2400" b="1" u="sng" dirty="0" smtClean="0"/>
              <a:t>Without</a:t>
            </a:r>
            <a:r>
              <a:rPr lang="en-US" sz="2400" b="1" dirty="0" smtClean="0"/>
              <a:t> Strategic Planning</a:t>
            </a:r>
            <a:endParaRPr lang="en-US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0" y="2222824"/>
            <a:ext cx="1574800" cy="46351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o segregation and record of development at private expense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=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Government Unlimited Rights in</a:t>
            </a:r>
          </a:p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Everything</a:t>
            </a:r>
            <a:endParaRPr lang="en-US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2890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WHY IT MATTERS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104570"/>
            <a:ext cx="8826500" cy="4974302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Impact of Strategic Planning on Technology Development</a:t>
            </a: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8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598159304"/>
              </p:ext>
            </p:extLst>
          </p:nvPr>
        </p:nvGraphicFramePr>
        <p:xfrm>
          <a:off x="1663700" y="2209797"/>
          <a:ext cx="7315200" cy="46482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/>
          <p:cNvSpPr/>
          <p:nvPr/>
        </p:nvSpPr>
        <p:spPr>
          <a:xfrm>
            <a:off x="-12700" y="1574465"/>
            <a:ext cx="9144000" cy="648359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Contractor’s Rights in Tech. Data </a:t>
            </a:r>
            <a:r>
              <a:rPr lang="en-US" sz="2400" b="1" u="sng" dirty="0" smtClean="0"/>
              <a:t>With</a:t>
            </a:r>
            <a:r>
              <a:rPr lang="en-US" sz="2400" b="1" dirty="0" smtClean="0"/>
              <a:t> Strategic Planning</a:t>
            </a:r>
            <a:endParaRPr lang="en-US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0" y="2222824"/>
            <a:ext cx="1574800" cy="4635176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ith segregation and record of development at private expense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=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Contractor has </a:t>
            </a:r>
            <a:r>
              <a:rPr lang="en-US" b="1" u="sng" dirty="0" smtClean="0">
                <a:solidFill>
                  <a:schemeClr val="tx1"/>
                </a:solidFill>
              </a:rPr>
              <a:t>Enhanced Rights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In Sub-Element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0735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WHY IT MATTERS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400" y="1143000"/>
            <a:ext cx="8763000" cy="4935871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</a:rPr>
              <a:t>Impact of Strategic Planning in Technology Development</a:t>
            </a: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19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378663024"/>
              </p:ext>
            </p:extLst>
          </p:nvPr>
        </p:nvGraphicFramePr>
        <p:xfrm>
          <a:off x="2143125" y="2108200"/>
          <a:ext cx="7648575" cy="4749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8"/>
          <p:cNvSpPr/>
          <p:nvPr/>
        </p:nvSpPr>
        <p:spPr>
          <a:xfrm>
            <a:off x="-12700" y="1574465"/>
            <a:ext cx="9144000" cy="648359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Contractor’s Rights in Software </a:t>
            </a:r>
            <a:r>
              <a:rPr lang="en-US" sz="2400" b="1" u="sng" dirty="0" smtClean="0"/>
              <a:t>Without</a:t>
            </a:r>
            <a:r>
              <a:rPr lang="en-US" sz="2400" b="1" dirty="0" smtClean="0"/>
              <a:t> Strategic Planning</a:t>
            </a:r>
            <a:endParaRPr lang="en-US" sz="2400" b="1" dirty="0"/>
          </a:p>
        </p:txBody>
      </p:sp>
      <p:sp>
        <p:nvSpPr>
          <p:cNvPr id="10" name="Rectangle 9"/>
          <p:cNvSpPr/>
          <p:nvPr/>
        </p:nvSpPr>
        <p:spPr>
          <a:xfrm>
            <a:off x="0" y="2222824"/>
            <a:ext cx="1574800" cy="46351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o segregation and record of development at private expense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=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Government Unlimited Rights in</a:t>
            </a:r>
          </a:p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Everything</a:t>
            </a:r>
            <a:endParaRPr lang="en-US" b="1" u="sng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54200" y="2222824"/>
            <a:ext cx="2247900" cy="1485900"/>
          </a:xfrm>
          <a:prstGeom prst="rect">
            <a:avLst/>
          </a:prstGeom>
          <a:ln w="508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FFF00"/>
                </a:solidFill>
                <a:latin typeface="Calibri" panose="020F0502020204030204" pitchFamily="34" charset="0"/>
              </a:rPr>
              <a:t>Versions as Software Functions are Added or is Enhanced</a:t>
            </a:r>
            <a:endParaRPr lang="en-US" sz="2000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0919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Introduction: Who I Am</a:t>
            </a:r>
            <a:endParaRPr lang="en-US" sz="3200" dirty="0"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2800" dirty="0" smtClean="0">
                <a:latin typeface="Calibri" panose="020F0502020204030204" pitchFamily="34" charset="0"/>
              </a:rPr>
              <a:t>David S. Black</a:t>
            </a:r>
            <a:endParaRPr lang="en-US" sz="2800" dirty="0">
              <a:latin typeface="Calibri" panose="020F050202020403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David Black</a:t>
            </a:r>
          </a:p>
          <a:p>
            <a:r>
              <a:rPr lang="en-US" dirty="0" smtClean="0"/>
              <a:t>Partner</a:t>
            </a:r>
          </a:p>
          <a:p>
            <a:r>
              <a:rPr lang="en-US" dirty="0" smtClean="0"/>
              <a:t>703-720-8680</a:t>
            </a:r>
          </a:p>
          <a:p>
            <a:r>
              <a:rPr lang="en-US" dirty="0" smtClean="0">
                <a:hlinkClick r:id="rId2"/>
              </a:rPr>
              <a:t>david.black@hklaw.com</a:t>
            </a:r>
            <a:endParaRPr lang="en-US" dirty="0" smtClean="0"/>
          </a:p>
          <a:p>
            <a:r>
              <a:rPr lang="en-US" dirty="0" smtClean="0"/>
              <a:t>Tysons, VA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anose="020F0502020204030204" pitchFamily="34" charset="0"/>
              </a:rPr>
              <a:t>Co-Chair, National Government Contracts Team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anose="020F0502020204030204" pitchFamily="34" charset="0"/>
              </a:rPr>
              <a:t>Design, implement, and maintain compliance program for Federal contractors and grantee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anose="020F0502020204030204" pitchFamily="34" charset="0"/>
              </a:rPr>
              <a:t>Represent non-Federal entities in responding to government investigations, audits, False Claims Act investigations and litigatio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Federal Contracts &amp; Grants</a:t>
            </a:r>
          </a:p>
          <a:p>
            <a:r>
              <a:rPr lang="en-US" dirty="0" smtClean="0"/>
              <a:t>Litigation and Dispute Resolution</a:t>
            </a:r>
          </a:p>
          <a:p>
            <a:r>
              <a:rPr lang="en-US" dirty="0" smtClean="0"/>
              <a:t>False Claims Act Defens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 smtClean="0"/>
              <a:t>Georgetown University Law Center, JD</a:t>
            </a:r>
          </a:p>
          <a:p>
            <a:r>
              <a:rPr lang="en-US" dirty="0" smtClean="0"/>
              <a:t>University of Virginia, BA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 smtClean="0"/>
              <a:t>District of Columbia</a:t>
            </a:r>
          </a:p>
          <a:p>
            <a:r>
              <a:rPr lang="en-US" dirty="0" smtClean="0"/>
              <a:t>Virginia</a:t>
            </a:r>
            <a:endParaRPr lang="en-US" dirty="0"/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28" r="792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82420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WHY IT MATTERS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104570"/>
            <a:ext cx="8826500" cy="4974302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Impact of Strategic Planning on Technology Development</a:t>
            </a: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-12700" y="1574465"/>
            <a:ext cx="9144000" cy="648359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Contractor’s Rights in Software </a:t>
            </a:r>
            <a:r>
              <a:rPr lang="en-US" sz="2400" b="1" u="sng" dirty="0" smtClean="0"/>
              <a:t>With</a:t>
            </a:r>
            <a:r>
              <a:rPr lang="en-US" sz="2400" b="1" dirty="0" smtClean="0"/>
              <a:t> Strategic Planning</a:t>
            </a:r>
            <a:endParaRPr lang="en-US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0" y="2222824"/>
            <a:ext cx="1574800" cy="4635176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ith segregation and record of development at private expense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=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Contractor has </a:t>
            </a:r>
            <a:r>
              <a:rPr lang="en-US" b="1" u="sng" dirty="0" smtClean="0">
                <a:solidFill>
                  <a:schemeClr val="tx1"/>
                </a:solidFill>
              </a:rPr>
              <a:t>Enhanced Rights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In Modifications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1956551451"/>
              </p:ext>
            </p:extLst>
          </p:nvPr>
        </p:nvGraphicFramePr>
        <p:xfrm>
          <a:off x="2143125" y="2108200"/>
          <a:ext cx="7648575" cy="4749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Rectangle 12"/>
          <p:cNvSpPr/>
          <p:nvPr/>
        </p:nvSpPr>
        <p:spPr>
          <a:xfrm>
            <a:off x="1854200" y="2222824"/>
            <a:ext cx="2247900" cy="1485900"/>
          </a:xfrm>
          <a:prstGeom prst="rect">
            <a:avLst/>
          </a:prstGeom>
          <a:ln w="508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FFF00"/>
                </a:solidFill>
                <a:latin typeface="Calibri" panose="020F0502020204030204" pitchFamily="34" charset="0"/>
              </a:rPr>
              <a:t>Versions as Software Functions are Added or is Enhanced</a:t>
            </a:r>
            <a:endParaRPr lang="en-US" sz="2000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11794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WHY IT MATTERS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104570"/>
            <a:ext cx="8826500" cy="4974302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Protecting Data Rights is </a:t>
            </a:r>
            <a:r>
              <a:rPr lang="en-US" sz="3200" b="1" u="sng" dirty="0" smtClean="0">
                <a:latin typeface="Calibri" panose="020F0502020204030204" pitchFamily="34" charset="0"/>
              </a:rPr>
              <a:t>NOT Self-Executing</a:t>
            </a: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Requires Timely:  </a:t>
            </a:r>
            <a:r>
              <a:rPr lang="en-US" sz="3200" b="1" u="sng" dirty="0" smtClean="0">
                <a:latin typeface="Calibri" panose="020F0502020204030204" pitchFamily="34" charset="0"/>
              </a:rPr>
              <a:t>Record-Keeping</a:t>
            </a:r>
            <a:r>
              <a:rPr lang="en-US" sz="3200" b="1" dirty="0" smtClean="0">
                <a:latin typeface="Calibri" panose="020F0502020204030204" pitchFamily="34" charset="0"/>
              </a:rPr>
              <a:t>, </a:t>
            </a:r>
            <a:r>
              <a:rPr lang="en-US" sz="3200" b="1" u="sng" dirty="0" smtClean="0">
                <a:latin typeface="Calibri" panose="020F0502020204030204" pitchFamily="34" charset="0"/>
              </a:rPr>
              <a:t>Assertions</a:t>
            </a:r>
            <a:r>
              <a:rPr lang="en-US" sz="3200" b="1" dirty="0" smtClean="0">
                <a:latin typeface="Calibri" panose="020F0502020204030204" pitchFamily="34" charset="0"/>
              </a:rPr>
              <a:t>, and </a:t>
            </a:r>
            <a:r>
              <a:rPr lang="en-US" sz="3200" b="1" u="sng" dirty="0" smtClean="0">
                <a:latin typeface="Calibri" panose="020F0502020204030204" pitchFamily="34" charset="0"/>
              </a:rPr>
              <a:t>Marking</a:t>
            </a: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1" y="3543300"/>
            <a:ext cx="3198070" cy="271955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336" y="3189456"/>
            <a:ext cx="3073400" cy="30734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471" y="3788025"/>
            <a:ext cx="2971800" cy="236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193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22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4778" y="1164920"/>
            <a:ext cx="8229600" cy="5109945"/>
          </a:xfrm>
        </p:spPr>
        <p:txBody>
          <a:bodyPr/>
          <a:lstStyle/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Federal Data Rights Allocation Scheme and Impact on Commercialization</a:t>
            </a:r>
          </a:p>
        </p:txBody>
      </p:sp>
    </p:spTree>
    <p:extLst>
      <p:ext uri="{BB962C8B-B14F-4D97-AF65-F5344CB8AC3E}">
        <p14:creationId xmlns:p14="http://schemas.microsoft.com/office/powerpoint/2010/main" val="15897050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Data Rights Impact Commercialization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81100"/>
            <a:ext cx="8521700" cy="4897771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Contractor retains “</a:t>
            </a:r>
            <a:r>
              <a:rPr lang="en-US" sz="2800" b="1" u="sng" dirty="0" smtClean="0">
                <a:latin typeface="Calibri" panose="020F0502020204030204" pitchFamily="34" charset="0"/>
              </a:rPr>
              <a:t>title</a:t>
            </a:r>
            <a:r>
              <a:rPr lang="en-US" sz="2800" b="1" dirty="0" smtClean="0">
                <a:latin typeface="Calibri" panose="020F0502020204030204" pitchFamily="34" charset="0"/>
              </a:rPr>
              <a:t>.”  Government gets a “</a:t>
            </a:r>
            <a:r>
              <a:rPr lang="en-US" sz="2800" b="1" u="sng" dirty="0" smtClean="0">
                <a:latin typeface="Calibri" panose="020F0502020204030204" pitchFamily="34" charset="0"/>
              </a:rPr>
              <a:t>license</a:t>
            </a:r>
            <a:r>
              <a:rPr lang="en-US" sz="2800" b="1" dirty="0" smtClean="0">
                <a:latin typeface="Calibri" panose="020F0502020204030204" pitchFamily="34" charset="0"/>
              </a:rPr>
              <a:t>.”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Extent of Government’s license determines </a:t>
            </a:r>
            <a:r>
              <a:rPr lang="en-US" sz="2800" b="1" u="sng" dirty="0" smtClean="0">
                <a:latin typeface="Calibri" panose="020F0502020204030204" pitchFamily="34" charset="0"/>
              </a:rPr>
              <a:t>commercial value of Contractor’s title</a:t>
            </a: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Right Arrow 4"/>
          <p:cNvSpPr/>
          <p:nvPr/>
        </p:nvSpPr>
        <p:spPr>
          <a:xfrm>
            <a:off x="4916529" y="4889978"/>
            <a:ext cx="4027197" cy="114558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u="sng" dirty="0" smtClean="0"/>
              <a:t>Less</a:t>
            </a:r>
            <a:r>
              <a:rPr lang="en-US" sz="2400" dirty="0" smtClean="0"/>
              <a:t> Commercial Value</a:t>
            </a:r>
            <a:endParaRPr lang="en-US" sz="2400" dirty="0"/>
          </a:p>
        </p:txBody>
      </p:sp>
      <p:sp>
        <p:nvSpPr>
          <p:cNvPr id="7" name="Left Arrow 6"/>
          <p:cNvSpPr/>
          <p:nvPr/>
        </p:nvSpPr>
        <p:spPr>
          <a:xfrm>
            <a:off x="457200" y="4889978"/>
            <a:ext cx="3836988" cy="1145585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u="sng" dirty="0" smtClean="0"/>
              <a:t>More</a:t>
            </a:r>
            <a:r>
              <a:rPr lang="en-US" sz="2400" dirty="0" smtClean="0"/>
              <a:t> Commercial Value</a:t>
            </a:r>
            <a:endParaRPr lang="en-US" sz="2400" dirty="0"/>
          </a:p>
        </p:txBody>
      </p:sp>
      <p:sp>
        <p:nvSpPr>
          <p:cNvPr id="8" name="TextBox 7"/>
          <p:cNvSpPr txBox="1"/>
          <p:nvPr/>
        </p:nvSpPr>
        <p:spPr>
          <a:xfrm>
            <a:off x="24591" y="3766881"/>
            <a:ext cx="1829348" cy="830997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Commercial</a:t>
            </a:r>
          </a:p>
          <a:p>
            <a:pPr algn="ctr"/>
            <a:r>
              <a:rPr lang="en-US" sz="2400" dirty="0" smtClean="0"/>
              <a:t>License</a:t>
            </a: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1873349" y="3766881"/>
            <a:ext cx="2682345" cy="83099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Limited/Restricted</a:t>
            </a:r>
          </a:p>
          <a:p>
            <a:pPr algn="ctr"/>
            <a:r>
              <a:rPr lang="en-US" sz="2400" dirty="0" smtClean="0"/>
              <a:t>Rights</a:t>
            </a:r>
            <a:endParaRPr lang="en-US" sz="2400" dirty="0"/>
          </a:p>
        </p:txBody>
      </p:sp>
      <p:sp>
        <p:nvSpPr>
          <p:cNvPr id="10" name="TextBox 9"/>
          <p:cNvSpPr txBox="1"/>
          <p:nvPr/>
        </p:nvSpPr>
        <p:spPr>
          <a:xfrm>
            <a:off x="5711433" y="3397549"/>
            <a:ext cx="1864858" cy="120032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Government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Purpose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Right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04412" y="3766881"/>
            <a:ext cx="1058303" cy="830997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SBIR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Right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73726" y="3766883"/>
            <a:ext cx="1470274" cy="830997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Unlimited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Right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898152"/>
            <a:ext cx="9144000" cy="4145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Calibri" panose="020F0502020204030204" pitchFamily="34" charset="0"/>
              </a:rPr>
              <a:t>Spectrum of License Rights</a:t>
            </a:r>
            <a:endParaRPr lang="en-US" sz="28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23479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Data Rights Impact Commercialization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Key Definitions and Concep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“Technical Data” vs. “Computer Softwar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Types of Government License Righ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Source of Funds”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Exceptions to the Sources of Funds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eveloped at Private Expens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octrine of </a:t>
            </a:r>
            <a:r>
              <a:rPr lang="en-US" sz="3200" b="1" dirty="0" smtClean="0">
                <a:latin typeface="Calibri" panose="020F0502020204030204" pitchFamily="34" charset="0"/>
              </a:rPr>
              <a:t>Segregability</a:t>
            </a:r>
            <a:r>
              <a:rPr lang="en-US" sz="3200" b="1" dirty="0" smtClean="0">
                <a:latin typeface="Calibri" panose="020F0502020204030204" pitchFamily="34" charset="0"/>
              </a:rPr>
              <a:t>”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7003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25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5"/>
            <a:ext cx="8807116" cy="5450401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“Technical Data”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Recorded information</a:t>
            </a:r>
            <a:r>
              <a:rPr lang="en-US" sz="2800" dirty="0" smtClean="0">
                <a:latin typeface="Calibri" panose="020F0502020204030204" pitchFamily="34" charset="0"/>
              </a:rPr>
              <a:t>, regardless of the form or method of the recording, </a:t>
            </a:r>
            <a:r>
              <a:rPr lang="en-US" sz="2800" b="1" dirty="0" smtClean="0">
                <a:latin typeface="Calibri" panose="020F0502020204030204" pitchFamily="34" charset="0"/>
              </a:rPr>
              <a:t>of a scientific or technical nature</a:t>
            </a:r>
            <a:r>
              <a:rPr lang="en-US" sz="2800" dirty="0" smtClean="0">
                <a:latin typeface="Calibri" panose="020F0502020204030204" pitchFamily="34" charset="0"/>
              </a:rPr>
              <a:t> (including data bases or computer software documentation).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Recorded on any medium</a:t>
            </a:r>
            <a:r>
              <a:rPr lang="en-US" sz="2800" dirty="0" smtClean="0">
                <a:latin typeface="Calibri" panose="020F0502020204030204" pitchFamily="34" charset="0"/>
              </a:rPr>
              <a:t> (paper or digital) </a:t>
            </a:r>
            <a:r>
              <a:rPr lang="en-US" sz="2800" b="1" dirty="0" smtClean="0">
                <a:latin typeface="Calibri" panose="020F0502020204030204" pitchFamily="34" charset="0"/>
              </a:rPr>
              <a:t>and form</a:t>
            </a:r>
            <a:r>
              <a:rPr lang="en-US" sz="2800" dirty="0" smtClean="0">
                <a:latin typeface="Calibri" panose="020F0502020204030204" pitchFamily="34" charset="0"/>
              </a:rPr>
              <a:t> (text, graphics, tables)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Does </a:t>
            </a:r>
            <a:r>
              <a:rPr lang="en-US" sz="2800" b="1" u="sng" dirty="0" smtClean="0">
                <a:latin typeface="Calibri" panose="020F0502020204030204" pitchFamily="34" charset="0"/>
              </a:rPr>
              <a:t>not</a:t>
            </a:r>
            <a:r>
              <a:rPr lang="en-US" sz="2800" b="1" dirty="0" smtClean="0">
                <a:latin typeface="Calibri" panose="020F0502020204030204" pitchFamily="34" charset="0"/>
              </a:rPr>
              <a:t> include</a:t>
            </a:r>
            <a:r>
              <a:rPr lang="en-US" sz="2800" dirty="0" smtClean="0">
                <a:latin typeface="Calibri" panose="020F0502020204030204" pitchFamily="34" charset="0"/>
              </a:rPr>
              <a:t> computer software 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Does </a:t>
            </a:r>
            <a:r>
              <a:rPr lang="en-US" sz="2800" b="1" u="sng" dirty="0" smtClean="0">
                <a:latin typeface="Calibri" panose="020F0502020204030204" pitchFamily="34" charset="0"/>
              </a:rPr>
              <a:t>not</a:t>
            </a:r>
            <a:r>
              <a:rPr lang="en-US" sz="2800" b="1" dirty="0" smtClean="0">
                <a:latin typeface="Calibri" panose="020F0502020204030204" pitchFamily="34" charset="0"/>
              </a:rPr>
              <a:t> include</a:t>
            </a:r>
            <a:r>
              <a:rPr lang="en-US" sz="2800" dirty="0" smtClean="0">
                <a:latin typeface="Calibri" panose="020F0502020204030204" pitchFamily="34" charset="0"/>
              </a:rPr>
              <a:t> data incidental to contract administration, such as financial and/or management information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56147" y="260427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Rights Allocation Scheme:</a:t>
            </a:r>
            <a:br>
              <a:rPr lang="en-US" sz="3200" dirty="0" smtClean="0">
                <a:latin typeface="Calibri" panose="020F0502020204030204" pitchFamily="34" charset="0"/>
              </a:rPr>
            </a:br>
            <a:r>
              <a:rPr lang="en-US" sz="3200" dirty="0" smtClean="0">
                <a:latin typeface="Calibri" panose="020F0502020204030204" pitchFamily="34" charset="0"/>
              </a:rPr>
              <a:t>Key Definitions and Concepts</a:t>
            </a:r>
            <a:endParaRPr lang="en-US" sz="32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1889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26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5"/>
            <a:ext cx="8807116" cy="5450401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“Computer </a:t>
            </a:r>
            <a:r>
              <a:rPr lang="en-US" sz="3200" b="1" dirty="0">
                <a:latin typeface="Calibri" panose="020F0502020204030204" pitchFamily="34" charset="0"/>
              </a:rPr>
              <a:t>Software”</a:t>
            </a:r>
          </a:p>
          <a:p>
            <a:pPr marL="561975" lvl="1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Includes </a:t>
            </a:r>
            <a:r>
              <a:rPr lang="en-US" sz="2800" b="1" dirty="0" smtClean="0">
                <a:latin typeface="Calibri" panose="020F0502020204030204" pitchFamily="34" charset="0"/>
              </a:rPr>
              <a:t>source code</a:t>
            </a:r>
            <a:r>
              <a:rPr lang="en-US" sz="2800" dirty="0" smtClean="0">
                <a:latin typeface="Calibri" panose="020F0502020204030204" pitchFamily="34" charset="0"/>
              </a:rPr>
              <a:t> and </a:t>
            </a:r>
            <a:r>
              <a:rPr lang="en-US" sz="2800" b="1" dirty="0" smtClean="0">
                <a:latin typeface="Calibri" panose="020F0502020204030204" pitchFamily="34" charset="0"/>
              </a:rPr>
              <a:t>object code</a:t>
            </a:r>
          </a:p>
          <a:p>
            <a:pPr marL="561975" lvl="1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Includes </a:t>
            </a:r>
            <a:r>
              <a:rPr lang="en-US" sz="2800" b="1" dirty="0" smtClean="0">
                <a:latin typeface="Calibri" panose="020F0502020204030204" pitchFamily="34" charset="0"/>
              </a:rPr>
              <a:t>non-code aspects of software</a:t>
            </a:r>
            <a:r>
              <a:rPr lang="en-US" sz="2800" dirty="0" smtClean="0">
                <a:latin typeface="Calibri" panose="020F0502020204030204" pitchFamily="34" charset="0"/>
              </a:rPr>
              <a:t>, such as design </a:t>
            </a:r>
            <a:r>
              <a:rPr lang="en-US" sz="2800" dirty="0">
                <a:latin typeface="Calibri" panose="020F0502020204030204" pitchFamily="34" charset="0"/>
              </a:rPr>
              <a:t>details, algorithms, processes, flow charts, formulae, and related material that would enable the software to be reproduced, recreated, or recompiled</a:t>
            </a:r>
            <a:r>
              <a:rPr lang="en-US" sz="2800" dirty="0" smtClean="0">
                <a:latin typeface="Calibri" panose="020F0502020204030204" pitchFamily="34" charset="0"/>
              </a:rPr>
              <a:t>.  </a:t>
            </a:r>
            <a:endParaRPr lang="en-US" sz="2800" dirty="0">
              <a:latin typeface="Calibri" panose="020F0502020204030204" pitchFamily="34" charset="0"/>
            </a:endParaRPr>
          </a:p>
          <a:p>
            <a:pPr marL="561975" lvl="1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Does </a:t>
            </a:r>
            <a:r>
              <a:rPr lang="en-US" sz="2800" b="1" u="sng" dirty="0" smtClean="0">
                <a:latin typeface="Calibri" panose="020F0502020204030204" pitchFamily="34" charset="0"/>
              </a:rPr>
              <a:t>not </a:t>
            </a:r>
            <a:r>
              <a:rPr lang="en-US" sz="2800" b="1" dirty="0" smtClean="0">
                <a:latin typeface="Calibri" panose="020F0502020204030204" pitchFamily="34" charset="0"/>
              </a:rPr>
              <a:t>include</a:t>
            </a:r>
            <a:r>
              <a:rPr lang="en-US" sz="2800" dirty="0" smtClean="0">
                <a:latin typeface="Calibri" panose="020F0502020204030204" pitchFamily="34" charset="0"/>
              </a:rPr>
              <a:t> computer </a:t>
            </a:r>
            <a:r>
              <a:rPr lang="en-US" sz="2800" dirty="0">
                <a:latin typeface="Calibri" panose="020F0502020204030204" pitchFamily="34" charset="0"/>
              </a:rPr>
              <a:t>databases or computer software </a:t>
            </a:r>
            <a:r>
              <a:rPr lang="en-US" sz="2800" dirty="0" smtClean="0">
                <a:latin typeface="Calibri" panose="020F0502020204030204" pitchFamily="34" charset="0"/>
              </a:rPr>
              <a:t>documentation (these are “technical data”)</a:t>
            </a:r>
            <a:endParaRPr lang="en-US" sz="2800" dirty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56147" y="260427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Rights Allocation Scheme:</a:t>
            </a:r>
            <a:br>
              <a:rPr lang="en-US" sz="3200" dirty="0" smtClean="0">
                <a:latin typeface="Calibri" panose="020F0502020204030204" pitchFamily="34" charset="0"/>
              </a:rPr>
            </a:br>
            <a:r>
              <a:rPr lang="en-US" sz="3200" dirty="0" smtClean="0">
                <a:latin typeface="Calibri" panose="020F0502020204030204" pitchFamily="34" charset="0"/>
              </a:rPr>
              <a:t>Key Definitions and Concepts</a:t>
            </a:r>
            <a:endParaRPr lang="en-US" sz="32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38762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Data Rights Impact Commercialization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Key Definitions and Concep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Technical Data” vs. “Computer Softwar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Types of Government License Righ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Source of Funds”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Exceptions to the Sources of Funds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eveloped at Private Expens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octrine of </a:t>
            </a:r>
            <a:r>
              <a:rPr lang="en-US" sz="3200" b="1" dirty="0" smtClean="0">
                <a:latin typeface="Calibri" panose="020F0502020204030204" pitchFamily="34" charset="0"/>
              </a:rPr>
              <a:t>Segregability</a:t>
            </a:r>
            <a:r>
              <a:rPr lang="en-US" sz="3200" b="1" dirty="0" smtClean="0">
                <a:latin typeface="Calibri" panose="020F0502020204030204" pitchFamily="34" charset="0"/>
              </a:rPr>
              <a:t>”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988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28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Contractor gets title</a:t>
            </a:r>
            <a:r>
              <a:rPr lang="en-US" sz="2800" b="1" dirty="0" smtClean="0">
                <a:latin typeface="Calibri" panose="020F0502020204030204" pitchFamily="34" charset="0"/>
              </a:rPr>
              <a:t> to the technical data or software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Important for commercialization outside Federal marketplac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Government gets a license</a:t>
            </a:r>
            <a:r>
              <a:rPr lang="en-US" sz="2800" b="1" dirty="0" smtClean="0">
                <a:latin typeface="Calibri" panose="020F0502020204030204" pitchFamily="34" charset="0"/>
              </a:rPr>
              <a:t> in the technical data or software.  Types of licenses include: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Unlimited Right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ernment Purpose Rights (DoD)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Limited Rights (Technical Data)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Restricted Rights (Computer Software)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OTA rights, CRADA rights, SBIR Right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 Scheme</a:t>
            </a:r>
            <a:endParaRPr lang="en-US" sz="4000" u="sng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824" y="3110843"/>
            <a:ext cx="2960176" cy="2479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1185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29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Applies to Technical Data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ov’t may only use technical data </a:t>
            </a:r>
            <a:r>
              <a:rPr lang="en-US" sz="2800" b="1" u="sng" dirty="0" smtClean="0">
                <a:latin typeface="Calibri" panose="020F0502020204030204" pitchFamily="34" charset="0"/>
              </a:rPr>
              <a:t>internally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can’t use for manufacturing or reprocurement purposes 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No disclosure to third parties except under narrow circumstances (emergency repair and overhaul), subject to prohibition on further use and disclosure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ontractor has exclusive right to commercialization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FAR 52.227-14; DFARS 252.227-7013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 Scheme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Limited Rights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6644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AGENDA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>
                <a:latin typeface="Calibri" panose="020F0502020204030204" pitchFamily="34" charset="0"/>
              </a:rPr>
              <a:t>Federal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Overview of Intellectual Property Rights Prot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Federal Data Rights </a:t>
            </a:r>
            <a:r>
              <a:rPr lang="en-US" sz="2800" b="1" dirty="0" smtClean="0">
                <a:latin typeface="Calibri" panose="020F0502020204030204" pitchFamily="34" charset="0"/>
              </a:rPr>
              <a:t>Allocation Scheme and Impact on Commerci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Strategic Research &amp; Development Plan to Enhance Commerci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Considerations </a:t>
            </a:r>
            <a:r>
              <a:rPr lang="en-US" sz="2800" b="1" dirty="0" smtClean="0">
                <a:latin typeface="Calibri" panose="020F0502020204030204" pitchFamily="34" charset="0"/>
              </a:rPr>
              <a:t>for</a:t>
            </a:r>
          </a:p>
          <a:p>
            <a:pPr marL="828675" lvl="2" indent="-285750"/>
            <a:r>
              <a:rPr lang="en-US" sz="2800" b="1" dirty="0" smtClean="0">
                <a:latin typeface="Calibri" panose="020F0502020204030204" pitchFamily="34" charset="0"/>
              </a:rPr>
              <a:t>Record </a:t>
            </a:r>
            <a:r>
              <a:rPr lang="en-US" sz="2800" b="1" dirty="0" smtClean="0">
                <a:latin typeface="Calibri" panose="020F0502020204030204" pitchFamily="34" charset="0"/>
              </a:rPr>
              <a:t>Keeping Regarding Technology Development</a:t>
            </a:r>
          </a:p>
          <a:p>
            <a:pPr marL="828675" lvl="2" indent="-285750"/>
            <a:r>
              <a:rPr lang="en-US" sz="2800" b="1" dirty="0" smtClean="0">
                <a:latin typeface="Calibri" panose="020F0502020204030204" pitchFamily="34" charset="0"/>
              </a:rPr>
              <a:t>Rights </a:t>
            </a:r>
            <a:r>
              <a:rPr lang="en-US" sz="2800" b="1" dirty="0" smtClean="0">
                <a:latin typeface="Calibri" panose="020F0502020204030204" pitchFamily="34" charset="0"/>
              </a:rPr>
              <a:t>Assertions in Proposals</a:t>
            </a:r>
          </a:p>
          <a:p>
            <a:pPr marL="828675" lvl="2" indent="-285750"/>
            <a:r>
              <a:rPr lang="en-US" sz="2800" b="1" dirty="0" smtClean="0">
                <a:latin typeface="Calibri" panose="020F0502020204030204" pitchFamily="34" charset="0"/>
              </a:rPr>
              <a:t>Marking </a:t>
            </a:r>
            <a:r>
              <a:rPr lang="en-US" sz="2800" b="1" dirty="0" smtClean="0">
                <a:latin typeface="Calibri" panose="020F0502020204030204" pitchFamily="34" charset="0"/>
              </a:rPr>
              <a:t>Restricted Data/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4731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0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Applies to Non-Commercial Softwa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ov’t may only use technical data </a:t>
            </a:r>
            <a:r>
              <a:rPr lang="en-US" sz="2800" b="1" u="sng" dirty="0" smtClean="0">
                <a:latin typeface="Calibri" panose="020F0502020204030204" pitchFamily="34" charset="0"/>
              </a:rPr>
              <a:t>internally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Single copy on a single computer plus limited administrative purpose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No disclosure to third parties except under narrow circumstances (emergency repair and overhaul; correction of deficiencies; or to integrate with other programs), subject to prohibition on further use and disclosure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ontractor has exclusive right to commercialization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FAR 52.227-14; DFARS 252.227-7014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 Scheme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Restricted Rights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27775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1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DoD Only</a:t>
            </a:r>
            <a:r>
              <a:rPr lang="en-US" sz="2800" b="1" dirty="0" smtClean="0">
                <a:latin typeface="Calibri" panose="020F0502020204030204" pitchFamily="34" charset="0"/>
              </a:rPr>
              <a:t>; Applies to Both Technical Data and Softwa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ov’t may only use data/software for “government purposes” where the Gov’t is a party</a:t>
            </a:r>
            <a:endParaRPr lang="en-US" sz="2800" b="1" u="sng" dirty="0" smtClean="0">
              <a:latin typeface="Calibri" panose="020F0502020204030204" pitchFamily="34" charset="0"/>
            </a:endParaRP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b="1" i="1" dirty="0" smtClean="0">
                <a:latin typeface="Calibri" panose="020F0502020204030204" pitchFamily="34" charset="0"/>
              </a:rPr>
              <a:t>Disclosure to competitors</a:t>
            </a:r>
            <a:r>
              <a:rPr lang="en-US" sz="2800" i="1" dirty="0" smtClean="0">
                <a:latin typeface="Calibri" panose="020F0502020204030204" pitchFamily="34" charset="0"/>
              </a:rPr>
              <a:t> </a:t>
            </a:r>
            <a:r>
              <a:rPr lang="en-US" sz="2800" dirty="0" smtClean="0">
                <a:latin typeface="Calibri" panose="020F0502020204030204" pitchFamily="34" charset="0"/>
              </a:rPr>
              <a:t>is </a:t>
            </a:r>
            <a:r>
              <a:rPr lang="en-US" sz="2800" u="sng" dirty="0" smtClean="0">
                <a:latin typeface="Calibri" panose="020F0502020204030204" pitchFamily="34" charset="0"/>
              </a:rPr>
              <a:t>possible for </a:t>
            </a:r>
            <a:r>
              <a:rPr lang="en-US" sz="2800" b="1" u="sng" dirty="0" smtClean="0">
                <a:latin typeface="Calibri" panose="020F0502020204030204" pitchFamily="34" charset="0"/>
              </a:rPr>
              <a:t>reprocurement</a:t>
            </a:r>
            <a:r>
              <a:rPr lang="en-US" sz="2800" dirty="0" smtClean="0">
                <a:latin typeface="Calibri" panose="020F0502020204030204" pitchFamily="34" charset="0"/>
              </a:rPr>
              <a:t> but </a:t>
            </a:r>
            <a:r>
              <a:rPr lang="en-US" sz="2800" b="1" u="sng" dirty="0" smtClean="0">
                <a:latin typeface="Calibri" panose="020F0502020204030204" pitchFamily="34" charset="0"/>
              </a:rPr>
              <a:t>not for private commercialization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ontractor has exclusive right to commercialization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DFARS</a:t>
            </a:r>
            <a:r>
              <a:rPr lang="en-US" sz="2800" dirty="0">
                <a:latin typeface="Calibri" panose="020F0502020204030204" pitchFamily="34" charset="0"/>
              </a:rPr>
              <a:t> 252.227-7013; DFARS </a:t>
            </a:r>
            <a:r>
              <a:rPr lang="en-US" sz="2800" dirty="0" smtClean="0">
                <a:latin typeface="Calibri" panose="020F0502020204030204" pitchFamily="34" charset="0"/>
              </a:rPr>
              <a:t>252.227-7014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Gov’t Purpose Rights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48401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2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DoD Only</a:t>
            </a:r>
            <a:r>
              <a:rPr lang="en-US" sz="2800" b="1" dirty="0" smtClean="0">
                <a:latin typeface="Calibri" panose="020F0502020204030204" pitchFamily="34" charset="0"/>
              </a:rPr>
              <a:t>; Applies to Both Technical Data and Softwa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Applies in “unusual situations,” standard rights may not satisfy the Gov’t’s need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ov’t may accept lesser rights in return for other consideration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Example: Gov’t grants limited rights for government-funded software in exchange for rights in other software in which the Gov’t does not currently have right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ontractor </a:t>
            </a:r>
            <a:r>
              <a:rPr lang="en-US" sz="2800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may</a:t>
            </a: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have exclusive right to commercialization</a:t>
            </a:r>
          </a:p>
          <a:p>
            <a:pPr marL="2800350" lvl="5" indent="-285750">
              <a:spcBef>
                <a:spcPts val="0"/>
              </a:spcBef>
              <a:spcAft>
                <a:spcPts val="12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DFARS</a:t>
            </a:r>
            <a:r>
              <a:rPr lang="en-US" sz="3200" dirty="0">
                <a:latin typeface="Calibri" panose="020F0502020204030204" pitchFamily="34" charset="0"/>
              </a:rPr>
              <a:t> </a:t>
            </a:r>
            <a:r>
              <a:rPr lang="en-US" sz="3200" dirty="0" smtClean="0">
                <a:latin typeface="Calibri" panose="020F0502020204030204" pitchFamily="34" charset="0"/>
              </a:rPr>
              <a:t>227.7203-6(d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Rights Allocation: </a:t>
            </a:r>
            <a:r>
              <a:rPr lang="en-US" sz="32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Specially Negotiated License Rights</a:t>
            </a:r>
            <a:endParaRPr lang="en-US" sz="32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8722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3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Applies to Non-Commercial Technical Data &amp; Softwa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ov’t may only use data/software in any manner and for any purpos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ov’t may disclose data/software to any third party and authorize use for any purpose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may authorize </a:t>
            </a:r>
            <a:r>
              <a:rPr lang="en-US" sz="2800" b="1" u="sng" dirty="0" smtClean="0">
                <a:latin typeface="Calibri" panose="020F0502020204030204" pitchFamily="34" charset="0"/>
              </a:rPr>
              <a:t>competitors</a:t>
            </a:r>
            <a:r>
              <a:rPr lang="en-US" sz="2800" dirty="0" smtClean="0">
                <a:latin typeface="Calibri" panose="020F0502020204030204" pitchFamily="34" charset="0"/>
              </a:rPr>
              <a:t> to use data/software for reprocurement or commercial purpose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ontractor has </a:t>
            </a:r>
            <a:r>
              <a:rPr lang="en-US" sz="2800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non-exclusive</a:t>
            </a: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right to commercialization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FAR 52.227-14; DFARS 252.227-7013 &amp; -7014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 Scheme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Unlimited Rights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990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4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Small Business Innovative Research (SBIR) Program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Research &amp; Development Agreements for Phase I &amp; II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Focus on technology with potential for commercialization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Procurement Contracts for Phase III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Eligibility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Not more than 500 employee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U.S. owned and controlled and located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SBIR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45844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5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Applies to Software and Technical Data generated under a SBIR Contract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For </a:t>
            </a:r>
            <a:r>
              <a:rPr lang="en-US" sz="2800" b="1" u="sng" dirty="0" smtClean="0">
                <a:latin typeface="Calibri" panose="020F0502020204030204" pitchFamily="34" charset="0"/>
              </a:rPr>
              <a:t>five years</a:t>
            </a:r>
            <a:r>
              <a:rPr lang="en-US" sz="2800" b="1" dirty="0" smtClean="0">
                <a:latin typeface="Calibri" panose="020F0502020204030204" pitchFamily="34" charset="0"/>
              </a:rPr>
              <a:t> after completion of the project from which such data were generated, Gov’t only has</a:t>
            </a:r>
            <a:endParaRPr lang="en-US" sz="2800" b="1" u="sng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Limited Rights in SBIR Technical Data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Restricted Rights in SBIR Computer Software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Gov’t has Unlimited Rights after the protection period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ontractor has exclusive right to commercialization during SBIR Protection Period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DFARS 252.227-7018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SBIR Data Rights (DoD)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6818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6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Applies to Software and Technical Data generated under a SBIR Contract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For </a:t>
            </a:r>
            <a:r>
              <a:rPr lang="en-US" sz="2800" b="1" u="sng" dirty="0" smtClean="0">
                <a:latin typeface="Calibri" panose="020F0502020204030204" pitchFamily="34" charset="0"/>
              </a:rPr>
              <a:t>four years</a:t>
            </a:r>
            <a:r>
              <a:rPr lang="en-US" sz="2800" b="1" dirty="0" smtClean="0">
                <a:latin typeface="Calibri" panose="020F0502020204030204" pitchFamily="34" charset="0"/>
              </a:rPr>
              <a:t> after acceptance of all contract deliverables, Gov’t may only use SBIR Data </a:t>
            </a:r>
            <a:r>
              <a:rPr lang="en-US" sz="2800" b="1" u="sng" dirty="0" smtClean="0">
                <a:latin typeface="Calibri" panose="020F0502020204030204" pitchFamily="34" charset="0"/>
              </a:rPr>
              <a:t>internally</a:t>
            </a:r>
            <a:r>
              <a:rPr lang="en-US" sz="2800" b="1" dirty="0" smtClean="0">
                <a:latin typeface="Calibri" panose="020F0502020204030204" pitchFamily="34" charset="0"/>
              </a:rPr>
              <a:t> for </a:t>
            </a:r>
            <a:r>
              <a:rPr lang="en-US" sz="2800" b="1" u="sng" dirty="0" smtClean="0">
                <a:latin typeface="Calibri" panose="020F0502020204030204" pitchFamily="34" charset="0"/>
              </a:rPr>
              <a:t>government purposes</a:t>
            </a:r>
            <a:r>
              <a:rPr lang="en-US" sz="2800" b="1" dirty="0" smtClean="0">
                <a:latin typeface="Calibri" panose="020F0502020204030204" pitchFamily="34" charset="0"/>
              </a:rPr>
              <a:t>.  </a:t>
            </a:r>
            <a:endParaRPr lang="en-US" sz="2800" b="1" u="sng" dirty="0" smtClean="0">
              <a:latin typeface="Calibri" panose="020F0502020204030204" pitchFamily="34" charset="0"/>
            </a:endParaRPr>
          </a:p>
          <a:p>
            <a:pPr marL="1000125" lvl="2" indent="-457200">
              <a:spcBef>
                <a:spcPts val="0"/>
              </a:spcBef>
              <a:spcAft>
                <a:spcPts val="6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No disclosure outside the Government (including for procurement purposes) </a:t>
            </a: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Gov’t has Gov’t Purpose Rights after the protection period but no liability for Disclosure</a:t>
            </a: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ontractor has exclusive right to commercialization during SBIR Protection Period</a:t>
            </a:r>
          </a:p>
          <a:p>
            <a:pPr marL="3257550" lvl="6" indent="-285750">
              <a:spcBef>
                <a:spcPts val="0"/>
              </a:spcBef>
              <a:spcAft>
                <a:spcPts val="6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FAR 52.227-20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800" dirty="0" smtClean="0">
                <a:latin typeface="Calibri" panose="020F0502020204030204" pitchFamily="34" charset="0"/>
              </a:rPr>
              <a:t>Rights Allocation: </a:t>
            </a:r>
            <a:r>
              <a:rPr lang="en-US" sz="3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SBIR Data Rights (Civilian)</a:t>
            </a:r>
            <a:endParaRPr lang="en-US" sz="38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4150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7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Cooperative Research and Development Agreements (CRADAs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Not covered by FAR/DFAR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Cooperative Research &amp; Development at Federal Laboratories (Civilian &amp; DoD)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No Federal Fund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provides personnel, facilities, equipment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Non-Federal party provides personnel, funds, services, and other resource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Authority: 15 U.S.C. 3710a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RADA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2919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8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Flexible Approach for each Federal Lab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enerally, IP rights depend on </a:t>
            </a:r>
            <a:r>
              <a:rPr lang="en-US" sz="2800" b="1" u="sng" dirty="0" smtClean="0">
                <a:latin typeface="Calibri" panose="020F0502020204030204" pitchFamily="34" charset="0"/>
              </a:rPr>
              <a:t>who generated</a:t>
            </a:r>
            <a:r>
              <a:rPr lang="en-US" sz="2800" b="1" dirty="0" smtClean="0">
                <a:latin typeface="Calibri" panose="020F0502020204030204" pitchFamily="34" charset="0"/>
              </a:rPr>
              <a:t> the work/invention:  Federal personnel, Non-Federal Personnel, or jointly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ontractor owns title in all inventions/works produced solely by its employee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gets a license ranging from Unlimited rights to Government Purpose rights, depending on the agenc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Protections for Background Data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RADA Rights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31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39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Other Transactions Agreements (OTAs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Not covered by FAR/DFAR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Flexible agreements for </a:t>
            </a:r>
            <a:r>
              <a:rPr lang="en-US" sz="2800" b="1" u="sng" dirty="0" smtClean="0">
                <a:latin typeface="Calibri" panose="020F0502020204030204" pitchFamily="34" charset="0"/>
              </a:rPr>
              <a:t>prototype projects </a:t>
            </a:r>
            <a:r>
              <a:rPr lang="en-US" sz="2800" dirty="0" smtClean="0">
                <a:latin typeface="Calibri" panose="020F0502020204030204" pitchFamily="34" charset="0"/>
              </a:rPr>
              <a:t>or other basic, applied or advanced research project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Used for nontraditional defense contractors and small businesse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>
                <a:latin typeface="Calibri" panose="020F0502020204030204" pitchFamily="34" charset="0"/>
              </a:rPr>
              <a:t>Authority: 10 USC 2371, </a:t>
            </a:r>
            <a:r>
              <a:rPr lang="en-US" sz="2800" dirty="0" smtClean="0">
                <a:latin typeface="Calibri" panose="020F0502020204030204" pitchFamily="34" charset="0"/>
              </a:rPr>
              <a:t>2371b</a:t>
            </a:r>
            <a:endParaRPr lang="en-US" sz="2800" dirty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OTAs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63008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4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4778" y="1164920"/>
            <a:ext cx="8229600" cy="5109945"/>
          </a:xfrm>
        </p:spPr>
        <p:txBody>
          <a:bodyPr/>
          <a:lstStyle/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The Business Context: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Developing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Innovative Technology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For Future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Commercialization</a:t>
            </a:r>
          </a:p>
        </p:txBody>
      </p:sp>
    </p:spTree>
    <p:extLst>
      <p:ext uri="{BB962C8B-B14F-4D97-AF65-F5344CB8AC3E}">
        <p14:creationId xmlns:p14="http://schemas.microsoft.com/office/powerpoint/2010/main" val="35824757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40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Other Transactions Agreements (OTAs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Calibri" panose="020F0502020204030204" pitchFamily="34" charset="0"/>
              </a:rPr>
              <a:t>A </a:t>
            </a:r>
            <a:r>
              <a:rPr lang="en-US" sz="2800" b="1" dirty="0">
                <a:latin typeface="Calibri" panose="020F0502020204030204" pitchFamily="34" charset="0"/>
              </a:rPr>
              <a:t>prototype project </a:t>
            </a:r>
            <a:r>
              <a:rPr lang="en-US" sz="2800" dirty="0">
                <a:latin typeface="Calibri" panose="020F0502020204030204" pitchFamily="34" charset="0"/>
              </a:rPr>
              <a:t>includes a pilot, test, evaluation, demonstration, or agile development activity used to evaluate the feasibility and utility of a particular technology, process, concept, end item, effect, or other discrete feature.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>
                <a:latin typeface="Calibri" panose="020F0502020204030204" pitchFamily="34" charset="0"/>
              </a:rPr>
              <a:t>May include systems, subsystems, components, materials, methodology, technology, or processes.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>
                <a:latin typeface="Calibri" panose="020F0502020204030204" pitchFamily="34" charset="0"/>
              </a:rPr>
              <a:t>May involve a proof of concept, a pilot, a novel application of commercial technologies for defense purposes, a creation, design, development demonstration of technical or operational utility, or a combination of the foregoing, relating to a prototype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OTAs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75709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41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00597" y="1028700"/>
            <a:ext cx="894280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DoD can negotiate I.P. terms and conditions different from procurement contract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Gov’t should seek technical data and computer software rights based on likelihood of follow-on production and deployment </a:t>
            </a:r>
            <a:r>
              <a:rPr lang="en-US" sz="2800" dirty="0" smtClean="0">
                <a:latin typeface="Calibri" panose="020F0502020204030204" pitchFamily="34" charset="0"/>
              </a:rPr>
              <a:t>and </a:t>
            </a:r>
            <a:r>
              <a:rPr lang="en-US" sz="2800" dirty="0" smtClean="0">
                <a:latin typeface="Calibri" panose="020F0502020204030204" pitchFamily="34" charset="0"/>
              </a:rPr>
              <a:t>consideration of Gov’t’s total life cycle cost of the technolog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 smtClean="0">
                <a:latin typeface="Calibri" panose="020F0502020204030204" pitchFamily="34" charset="0"/>
              </a:rPr>
              <a:t>Use Bayh-Dole Act (10 USC 2320-21) is a guide.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ontractor retains title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get license rights to facilitate acquisition strategy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Balance the relative investments/risks borne by the parti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OTA Rights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9197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42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00597" y="1028700"/>
            <a:ext cx="894280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Rights in Data uses DFARS as a Model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Agreement should explicitly address extent of Gov’ts rights to use, modify, reproduce, perform, display, release, and disclose the data/software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lause negotiated on a case-by-case basi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Include delivery of data/software developed at </a:t>
            </a:r>
            <a:r>
              <a:rPr lang="en-US" sz="2800" i="1" dirty="0" smtClean="0">
                <a:latin typeface="Calibri" panose="020F0502020204030204" pitchFamily="34" charset="0"/>
              </a:rPr>
              <a:t>Government expense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Should consider instant and future needs of both parties, the technology at issues, and </a:t>
            </a:r>
            <a:r>
              <a:rPr lang="en-US" sz="2800" i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any commercialization strategi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Rights Allocation: 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OTA Rights</a:t>
            </a:r>
            <a:endParaRPr lang="en-US" sz="4000" u="sng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1796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Data Rights Impact Commercialization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Key Definitions and Concep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Technical Data” vs. “Computer Softwar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Types of Government License Righ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“Source of Funds”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Exceptions to the Sources of Funds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eveloped at Private Expens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octrine of </a:t>
            </a:r>
            <a:r>
              <a:rPr lang="en-US" sz="3200" b="1" dirty="0" smtClean="0">
                <a:latin typeface="Calibri" panose="020F0502020204030204" pitchFamily="34" charset="0"/>
              </a:rPr>
              <a:t>Segregability</a:t>
            </a:r>
            <a:r>
              <a:rPr lang="en-US" sz="3200" b="1" dirty="0" smtClean="0">
                <a:latin typeface="Calibri" panose="020F0502020204030204" pitchFamily="34" charset="0"/>
              </a:rPr>
              <a:t>”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68777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44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514350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Developed “exclusively at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private</a:t>
            </a:r>
            <a:r>
              <a:rPr lang="en-US" sz="2800" b="1" dirty="0" smtClean="0">
                <a:latin typeface="Calibri" panose="020F0502020204030204" pitchFamily="34" charset="0"/>
              </a:rPr>
              <a:t> expense”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acquires </a:t>
            </a:r>
            <a:r>
              <a:rPr lang="en-US" sz="2800" b="1" u="sng" dirty="0" smtClean="0">
                <a:latin typeface="Calibri" panose="020F0502020204030204" pitchFamily="34" charset="0"/>
              </a:rPr>
              <a:t>Limited</a:t>
            </a:r>
            <a:r>
              <a:rPr lang="en-US" sz="2800" b="1" dirty="0" smtClean="0">
                <a:latin typeface="Calibri" panose="020F0502020204030204" pitchFamily="34" charset="0"/>
              </a:rPr>
              <a:t> Rights in Data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acquires </a:t>
            </a:r>
            <a:r>
              <a:rPr lang="en-US" sz="2800" b="1" u="sng" dirty="0" smtClean="0">
                <a:latin typeface="Calibri" panose="020F0502020204030204" pitchFamily="34" charset="0"/>
              </a:rPr>
              <a:t>Restricted</a:t>
            </a:r>
            <a:r>
              <a:rPr lang="en-US" sz="2800" b="1" dirty="0" smtClean="0">
                <a:latin typeface="Calibri" panose="020F0502020204030204" pitchFamily="34" charset="0"/>
              </a:rPr>
              <a:t> Rights in Software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marL="514350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Developed with “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mixed </a:t>
            </a:r>
            <a:r>
              <a:rPr lang="en-US" sz="2800" b="1" dirty="0" smtClean="0">
                <a:latin typeface="Calibri" panose="020F0502020204030204" pitchFamily="34" charset="0"/>
              </a:rPr>
              <a:t>funding”</a:t>
            </a:r>
            <a:r>
              <a:rPr lang="en-US" sz="2800" dirty="0" smtClean="0">
                <a:latin typeface="Calibri" panose="020F0502020204030204" pitchFamily="34" charset="0"/>
              </a:rPr>
              <a:t> (part at private expense and part at Government expense)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acquires </a:t>
            </a:r>
            <a:r>
              <a:rPr lang="en-US" sz="2800" b="1" u="sng" dirty="0" smtClean="0">
                <a:latin typeface="Calibri" panose="020F0502020204030204" pitchFamily="34" charset="0"/>
              </a:rPr>
              <a:t>Government Purpose</a:t>
            </a:r>
            <a:r>
              <a:rPr lang="en-US" sz="2800" b="1" dirty="0" smtClean="0">
                <a:latin typeface="Calibri" panose="020F0502020204030204" pitchFamily="34" charset="0"/>
              </a:rPr>
              <a:t> Rights</a:t>
            </a:r>
          </a:p>
          <a:p>
            <a:pPr marL="514350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Developed “exclusively at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Government</a:t>
            </a:r>
            <a:r>
              <a:rPr lang="en-US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en-US" sz="2800" b="1" dirty="0" smtClean="0">
                <a:latin typeface="Calibri" panose="020F0502020204030204" pitchFamily="34" charset="0"/>
              </a:rPr>
              <a:t>expense”:  </a:t>
            </a:r>
            <a:r>
              <a:rPr lang="en-US" sz="2800" dirty="0" smtClean="0">
                <a:latin typeface="Calibri" panose="020F0502020204030204" pitchFamily="34" charset="0"/>
              </a:rPr>
              <a:t>Gov’t acquires </a:t>
            </a:r>
            <a:r>
              <a:rPr lang="en-US" sz="2800" b="1" u="sng" dirty="0" smtClean="0">
                <a:latin typeface="Calibri" panose="020F0502020204030204" pitchFamily="34" charset="0"/>
              </a:rPr>
              <a:t>Unlimited</a:t>
            </a:r>
            <a:r>
              <a:rPr lang="en-US" sz="2800" b="1" dirty="0" smtClean="0">
                <a:latin typeface="Calibri" panose="020F0502020204030204" pitchFamily="34" charset="0"/>
              </a:rPr>
              <a:t> Right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800" dirty="0" smtClean="0">
                <a:latin typeface="Calibri" panose="020F0502020204030204" pitchFamily="34" charset="0"/>
              </a:rPr>
              <a:t>Rights Allocation: Source of Funds Test </a:t>
            </a:r>
            <a:r>
              <a:rPr lang="en-US" sz="3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(DoD)</a:t>
            </a:r>
            <a:endParaRPr lang="en-US" sz="38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92306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45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514350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Developed “exclusively at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private</a:t>
            </a:r>
            <a:r>
              <a:rPr lang="en-US" sz="2800" b="1" dirty="0" smtClean="0">
                <a:latin typeface="Calibri" panose="020F0502020204030204" pitchFamily="34" charset="0"/>
              </a:rPr>
              <a:t> expense”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acquires </a:t>
            </a:r>
            <a:r>
              <a:rPr lang="en-US" sz="2800" b="1" u="sng" dirty="0" smtClean="0">
                <a:latin typeface="Calibri" panose="020F0502020204030204" pitchFamily="34" charset="0"/>
              </a:rPr>
              <a:t>Limited</a:t>
            </a:r>
            <a:r>
              <a:rPr lang="en-US" sz="2800" b="1" dirty="0" smtClean="0">
                <a:latin typeface="Calibri" panose="020F0502020204030204" pitchFamily="34" charset="0"/>
              </a:rPr>
              <a:t> Rights in Data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acquires </a:t>
            </a:r>
            <a:r>
              <a:rPr lang="en-US" sz="2800" b="1" u="sng" dirty="0" smtClean="0">
                <a:latin typeface="Calibri" panose="020F0502020204030204" pitchFamily="34" charset="0"/>
              </a:rPr>
              <a:t>Restricted</a:t>
            </a:r>
            <a:r>
              <a:rPr lang="en-US" sz="2800" b="1" dirty="0" smtClean="0">
                <a:latin typeface="Calibri" panose="020F0502020204030204" pitchFamily="34" charset="0"/>
              </a:rPr>
              <a:t> Rights in Software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marL="514350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Developed with “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mixed </a:t>
            </a:r>
            <a:r>
              <a:rPr lang="en-US" sz="2800" b="1" dirty="0" smtClean="0">
                <a:latin typeface="Calibri" panose="020F0502020204030204" pitchFamily="34" charset="0"/>
              </a:rPr>
              <a:t>funding”</a:t>
            </a:r>
            <a:r>
              <a:rPr lang="en-US" sz="2800" dirty="0" smtClean="0">
                <a:latin typeface="Calibri" panose="020F0502020204030204" pitchFamily="34" charset="0"/>
              </a:rPr>
              <a:t> (part at private expense and part at Government expense)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acquires </a:t>
            </a:r>
            <a:r>
              <a:rPr lang="en-US" sz="2800" b="1" u="sng" dirty="0" smtClean="0">
                <a:latin typeface="Calibri" panose="020F0502020204030204" pitchFamily="34" charset="0"/>
              </a:rPr>
              <a:t>Unlimited</a:t>
            </a:r>
            <a:r>
              <a:rPr lang="en-US" sz="2800" b="1" dirty="0" smtClean="0">
                <a:latin typeface="Calibri" panose="020F0502020204030204" pitchFamily="34" charset="0"/>
              </a:rPr>
              <a:t> Rights</a:t>
            </a:r>
          </a:p>
          <a:p>
            <a:pPr marL="514350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Developed “exclusively at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Government</a:t>
            </a:r>
            <a:r>
              <a:rPr lang="en-US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en-US" sz="2800" b="1" dirty="0" smtClean="0">
                <a:latin typeface="Calibri" panose="020F0502020204030204" pitchFamily="34" charset="0"/>
              </a:rPr>
              <a:t>expense”:  </a:t>
            </a:r>
          </a:p>
          <a:p>
            <a:pPr marL="1057275" lvl="2" indent="-5143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acquires </a:t>
            </a:r>
            <a:r>
              <a:rPr lang="en-US" sz="2800" b="1" u="sng" dirty="0" smtClean="0">
                <a:latin typeface="Calibri" panose="020F0502020204030204" pitchFamily="34" charset="0"/>
              </a:rPr>
              <a:t>Unlimited</a:t>
            </a:r>
            <a:r>
              <a:rPr lang="en-US" sz="2800" b="1" dirty="0" smtClean="0">
                <a:latin typeface="Calibri" panose="020F0502020204030204" pitchFamily="34" charset="0"/>
              </a:rPr>
              <a:t> Right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600" dirty="0" smtClean="0">
                <a:latin typeface="Calibri" panose="020F0502020204030204" pitchFamily="34" charset="0"/>
              </a:rPr>
              <a:t>Rights Allocation: Source of Funds Test </a:t>
            </a:r>
            <a:r>
              <a:rPr lang="en-US" sz="36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(Civilian)</a:t>
            </a:r>
            <a:endParaRPr lang="en-US" sz="36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5107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46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 b="1" u="sng" dirty="0" smtClean="0"/>
              <a:t>Source of Funds Determinations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400" b="1" dirty="0" smtClean="0"/>
              <a:t>Private Expense</a:t>
            </a:r>
            <a:r>
              <a:rPr lang="en-US" sz="2400" dirty="0" smtClean="0"/>
              <a:t>: Development was accomplished “entirely with costs charged to indirect cost pools, costs not allocated to a government contract, or any combination thereof.”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400" b="1" dirty="0" smtClean="0"/>
              <a:t>Mixed Funding</a:t>
            </a:r>
            <a:r>
              <a:rPr lang="en-US" sz="2400" dirty="0" smtClean="0"/>
              <a:t>:  Development was accomplished “partially with costs charged to indirect cost pools and/or costs not allocated to a government contract, and partially with costs charged directly to a government contract.”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400" b="1" dirty="0" smtClean="0"/>
              <a:t>Government Expense</a:t>
            </a:r>
            <a:r>
              <a:rPr lang="en-US" sz="2400" dirty="0" smtClean="0"/>
              <a:t>:  Development “was not accomplished exclusively or partially at private expense”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>
                <a:latin typeface="Calibri" panose="020F0502020204030204" pitchFamily="34" charset="0"/>
              </a:rPr>
              <a:t>Rights Allocation: Source of Funds Test</a:t>
            </a:r>
            <a:endParaRPr lang="en-US" sz="4000" u="sng" dirty="0"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203700" y="2908300"/>
            <a:ext cx="4813300" cy="431800"/>
          </a:xfrm>
          <a:prstGeom prst="rect">
            <a:avLst/>
          </a:prstGeom>
          <a:solidFill>
            <a:schemeClr val="bg1"/>
          </a:solidFill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Importance of Record Keeping</a:t>
            </a:r>
            <a:endParaRPr lang="en-US" sz="28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6531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Data Rights Impact Commercialization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Key Definitions and Concep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Technical Data” vs. “Computer Softwar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Types of Government License Righ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Source of Funds”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Exceptions to the Sources of Funds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eveloped at Private Expens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octrine of </a:t>
            </a:r>
            <a:r>
              <a:rPr lang="en-US" sz="3200" b="1" dirty="0" smtClean="0">
                <a:latin typeface="Calibri" panose="020F0502020204030204" pitchFamily="34" charset="0"/>
              </a:rPr>
              <a:t>Segregability</a:t>
            </a:r>
            <a:r>
              <a:rPr lang="en-US" sz="3200" b="1" dirty="0" smtClean="0">
                <a:latin typeface="Calibri" panose="020F0502020204030204" pitchFamily="34" charset="0"/>
              </a:rPr>
              <a:t>”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40370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48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514350" indent="-5143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ov’t always acquires </a:t>
            </a:r>
            <a:r>
              <a:rPr lang="en-US" sz="2800" b="1" u="sng" dirty="0" smtClean="0">
                <a:latin typeface="Calibri" panose="020F0502020204030204" pitchFamily="34" charset="0"/>
              </a:rPr>
              <a:t>Unlimited</a:t>
            </a:r>
            <a:r>
              <a:rPr lang="en-US" sz="2800" b="1" dirty="0" smtClean="0">
                <a:latin typeface="Calibri" panose="020F0502020204030204" pitchFamily="34" charset="0"/>
              </a:rPr>
              <a:t> Rights in:</a:t>
            </a:r>
          </a:p>
          <a:p>
            <a:pPr marL="790575" lvl="1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Studies, analyses, or test data specified as element of contract performance</a:t>
            </a:r>
          </a:p>
          <a:p>
            <a:pPr marL="790575" lvl="1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Data necessary for installation, operation, maintenance or training purposes</a:t>
            </a:r>
          </a:p>
          <a:p>
            <a:pPr marL="790575" lvl="1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Form, Fit, and Function data</a:t>
            </a:r>
          </a:p>
          <a:p>
            <a:pPr marL="790575" lvl="1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latin typeface="Calibri" panose="020F0502020204030204" pitchFamily="34" charset="0"/>
              </a:rPr>
              <a:t>Computer software documentation</a:t>
            </a:r>
          </a:p>
          <a:p>
            <a:pPr marL="790575" lvl="1" indent="-514350"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Data or software not marked with a restrictive legend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Rights Allocation: Exceptions to </a:t>
            </a:r>
            <a:br>
              <a:rPr lang="en-US" sz="3200" dirty="0" smtClean="0">
                <a:latin typeface="Calibri" panose="020F0502020204030204" pitchFamily="34" charset="0"/>
              </a:rPr>
            </a:br>
            <a:r>
              <a:rPr lang="en-US" sz="3200" dirty="0" smtClean="0">
                <a:latin typeface="Calibri" panose="020F0502020204030204" pitchFamily="34" charset="0"/>
              </a:rPr>
              <a:t>Source of Funds Test</a:t>
            </a:r>
            <a:endParaRPr lang="en-US" sz="32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19700" y="5805488"/>
            <a:ext cx="3924300" cy="431800"/>
          </a:xfrm>
          <a:prstGeom prst="rect">
            <a:avLst/>
          </a:prstGeom>
          <a:solidFill>
            <a:schemeClr val="bg1"/>
          </a:solidFill>
          <a:ln w="635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Importance of Marking</a:t>
            </a:r>
            <a:endParaRPr lang="en-US" sz="28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76780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Data Rights Impact Commercialization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Key Definitions and Concep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Technical Data” vs. “Computer Softwar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Types of Government License Righ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Source of Funds”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Exceptions to the Sources of Funds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“Developed at Private Expens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octrine of </a:t>
            </a:r>
            <a:r>
              <a:rPr lang="en-US" sz="3200" b="1" dirty="0" smtClean="0">
                <a:latin typeface="Calibri" panose="020F0502020204030204" pitchFamily="34" charset="0"/>
              </a:rPr>
              <a:t>Segregability</a:t>
            </a:r>
            <a:r>
              <a:rPr lang="en-US" sz="3200" b="1" dirty="0" smtClean="0">
                <a:latin typeface="Calibri" panose="020F0502020204030204" pitchFamily="34" charset="0"/>
              </a:rPr>
              <a:t>”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70192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7592"/>
            <a:ext cx="8229600" cy="662426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BUSINESS CONTEXT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1795928"/>
            <a:ext cx="7484776" cy="506207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57201" y="835773"/>
            <a:ext cx="7484776" cy="914400"/>
          </a:xfrm>
          <a:prstGeom prst="rect">
            <a:avLst/>
          </a:prstGeom>
          <a:solidFill>
            <a:schemeClr val="bg1"/>
          </a:solidFill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solidFill>
                  <a:schemeClr val="tx1"/>
                </a:solidFill>
              </a:rPr>
              <a:t>“If you build it with Federal funding, </a:t>
            </a:r>
          </a:p>
          <a:p>
            <a:pPr algn="ctr"/>
            <a:r>
              <a:rPr lang="en-US" sz="2800" dirty="0" smtClean="0">
                <a:solidFill>
                  <a:schemeClr val="tx1"/>
                </a:solidFill>
              </a:rPr>
              <a:t>will you be able to commercialize it?”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993900" y="6296821"/>
            <a:ext cx="7150100" cy="546100"/>
          </a:xfrm>
          <a:prstGeom prst="rect">
            <a:avLst/>
          </a:prstGeom>
          <a:solidFill>
            <a:schemeClr val="bg1"/>
          </a:solidFill>
          <a:ln w="63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1"/>
                </a:solidFill>
              </a:rPr>
              <a:t>Impact of Federal Data Rights on Future Revenue?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89699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50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/>
              <a:t>Key DFARS Concepts and Definitions – </a:t>
            </a:r>
            <a:r>
              <a:rPr lang="en-US" sz="2400" b="1" u="sng" dirty="0" smtClean="0"/>
              <a:t>“Developed”</a:t>
            </a:r>
          </a:p>
          <a:p>
            <a:pPr marL="561975" lvl="1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dirty="0" smtClean="0"/>
              <a:t>When is </a:t>
            </a:r>
            <a:r>
              <a:rPr lang="en-US" sz="2400" b="1" u="sng" dirty="0" smtClean="0"/>
              <a:t>Technical Data</a:t>
            </a:r>
            <a:r>
              <a:rPr lang="en-US" sz="2400" b="1" dirty="0" smtClean="0"/>
              <a:t> “Developed”?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dirty="0" smtClean="0"/>
              <a:t>An item, component, or process </a:t>
            </a:r>
            <a:r>
              <a:rPr lang="en-US" sz="2400" b="1" u="sng" dirty="0" smtClean="0"/>
              <a:t>exists and is workable</a:t>
            </a:r>
            <a:r>
              <a:rPr lang="en-US" sz="2400" dirty="0" smtClean="0"/>
              <a:t>.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dirty="0" smtClean="0"/>
              <a:t>The item or component must have been </a:t>
            </a:r>
            <a:r>
              <a:rPr lang="en-US" sz="2400" b="1" u="sng" dirty="0" smtClean="0"/>
              <a:t>constructed</a:t>
            </a:r>
            <a:r>
              <a:rPr lang="en-US" sz="2400" dirty="0" smtClean="0"/>
              <a:t> or the process </a:t>
            </a:r>
            <a:r>
              <a:rPr lang="en-US" sz="2400" u="sng" dirty="0" smtClean="0"/>
              <a:t>practiced</a:t>
            </a:r>
            <a:r>
              <a:rPr lang="en-US" sz="2400" dirty="0" smtClean="0"/>
              <a:t>.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dirty="0" smtClean="0"/>
              <a:t>“Workability”</a:t>
            </a:r>
            <a:r>
              <a:rPr lang="en-US" sz="2400" dirty="0" smtClean="0"/>
              <a:t> is established when </a:t>
            </a:r>
            <a:r>
              <a:rPr lang="en-US" sz="2400" b="1" u="sng" dirty="0" smtClean="0"/>
              <a:t>tested sufficiently to demonstrate</a:t>
            </a:r>
            <a:r>
              <a:rPr lang="en-US" sz="2400" dirty="0" smtClean="0"/>
              <a:t> to reasonable people skilled in the art that there is a high probability it will operate as intended.</a:t>
            </a:r>
            <a:endParaRPr lang="en-US" sz="2400" dirty="0"/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u="sng" dirty="0" smtClean="0"/>
              <a:t>Need not be at the stage</a:t>
            </a:r>
            <a:r>
              <a:rPr lang="en-US" sz="2400" dirty="0" smtClean="0"/>
              <a:t> where it could be offered for sale on the </a:t>
            </a:r>
            <a:r>
              <a:rPr lang="en-US" sz="2400" b="1" dirty="0" smtClean="0"/>
              <a:t>commercial market</a:t>
            </a:r>
            <a:r>
              <a:rPr lang="en-US" sz="2400" dirty="0" smtClean="0"/>
              <a:t>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2800" dirty="0">
                <a:latin typeface="Calibri" panose="020F0502020204030204" pitchFamily="34" charset="0"/>
              </a:rPr>
              <a:t>When is Data/Software “Developed” or “Produced”: </a:t>
            </a:r>
            <a:br>
              <a:rPr lang="en-US" sz="2800" dirty="0">
                <a:latin typeface="Calibri" panose="020F0502020204030204" pitchFamily="34" charset="0"/>
              </a:rPr>
            </a:b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Technical Data</a:t>
            </a:r>
            <a:endParaRPr lang="en-US" sz="24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4800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51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/>
              <a:t>Key DFARS Concepts and Definitions – </a:t>
            </a:r>
            <a:r>
              <a:rPr lang="en-US" sz="2400" b="1" u="sng" dirty="0" smtClean="0"/>
              <a:t>“Developed”</a:t>
            </a:r>
          </a:p>
          <a:p>
            <a:pPr marL="561975" lvl="1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dirty="0" smtClean="0"/>
              <a:t>When is </a:t>
            </a:r>
            <a:r>
              <a:rPr lang="en-US" sz="2400" b="1" u="sng" dirty="0" smtClean="0"/>
              <a:t>Computer Software</a:t>
            </a:r>
            <a:r>
              <a:rPr lang="en-US" sz="2400" b="1" dirty="0" smtClean="0"/>
              <a:t> “Developed”?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dirty="0" smtClean="0"/>
              <a:t>A </a:t>
            </a:r>
            <a:r>
              <a:rPr lang="en-US" sz="2400" b="1" dirty="0" smtClean="0"/>
              <a:t>computer </a:t>
            </a:r>
            <a:r>
              <a:rPr lang="en-US" sz="2400" b="1" u="sng" dirty="0" smtClean="0"/>
              <a:t>software</a:t>
            </a:r>
            <a:r>
              <a:rPr lang="en-US" sz="2400" dirty="0" smtClean="0"/>
              <a:t> has been </a:t>
            </a:r>
            <a:r>
              <a:rPr lang="en-US" sz="2400" b="1" dirty="0" smtClean="0"/>
              <a:t>successfully tested or analyzed</a:t>
            </a:r>
            <a:r>
              <a:rPr lang="en-US" sz="2400" dirty="0" smtClean="0"/>
              <a:t> to the extent sufficient to demonstrate to reasonable persons skilled in the art that the software can reasonably be </a:t>
            </a:r>
            <a:r>
              <a:rPr lang="en-US" sz="2400" b="1" u="sng" dirty="0" smtClean="0"/>
              <a:t>expected to perform its intended purpose</a:t>
            </a:r>
            <a:r>
              <a:rPr lang="en-US" sz="2400" dirty="0" smtClean="0"/>
              <a:t>; or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dirty="0" smtClean="0"/>
              <a:t>Computer software </a:t>
            </a:r>
            <a:r>
              <a:rPr lang="en-US" sz="2400" b="1" u="sng" dirty="0" smtClean="0"/>
              <a:t>documentation</a:t>
            </a:r>
            <a:r>
              <a:rPr lang="en-US" sz="2400" b="1" dirty="0" smtClean="0"/>
              <a:t> required to be delivered </a:t>
            </a:r>
            <a:r>
              <a:rPr lang="en-US" sz="2400" b="1" u="sng" dirty="0" smtClean="0"/>
              <a:t>under a contract</a:t>
            </a:r>
            <a:r>
              <a:rPr lang="en-US" sz="2400" dirty="0" smtClean="0"/>
              <a:t> has been written, in any medium, in sufficient detail to comply with requirements under that contract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2800" dirty="0">
                <a:latin typeface="Calibri" panose="020F0502020204030204" pitchFamily="34" charset="0"/>
              </a:rPr>
              <a:t>When is </a:t>
            </a:r>
            <a:r>
              <a:rPr lang="en-US" sz="3200" dirty="0">
                <a:latin typeface="Calibri" panose="020F0502020204030204" pitchFamily="34" charset="0"/>
              </a:rPr>
              <a:t>Data/Software “Developed” or “Produced</a:t>
            </a:r>
            <a:r>
              <a:rPr lang="en-US" sz="3200" dirty="0" smtClean="0">
                <a:latin typeface="Calibri" panose="020F0502020204030204" pitchFamily="34" charset="0"/>
              </a:rPr>
              <a:t>”: </a:t>
            </a:r>
            <a:br>
              <a:rPr lang="en-US" sz="3200" dirty="0" smtClean="0">
                <a:latin typeface="Calibri" panose="020F0502020204030204" pitchFamily="34" charset="0"/>
              </a:rPr>
            </a:br>
            <a:r>
              <a:rPr lang="en-US" sz="32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Computer </a:t>
            </a:r>
            <a:r>
              <a:rPr lang="en-US" sz="3200" dirty="0">
                <a:solidFill>
                  <a:srgbClr val="FF0000"/>
                </a:solidFill>
                <a:latin typeface="Calibri" panose="020F0502020204030204" pitchFamily="34" charset="0"/>
              </a:rPr>
              <a:t>Software</a:t>
            </a:r>
            <a:endParaRPr lang="en-US" sz="32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2068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52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/>
              <a:t>FAR Part 27 Leaves Questions </a:t>
            </a:r>
            <a:r>
              <a:rPr lang="en-US" sz="2400" b="1" u="sng" dirty="0" smtClean="0"/>
              <a:t>Unanswered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/>
              <a:t>Does not address </a:t>
            </a:r>
            <a:r>
              <a:rPr lang="en-US" sz="2400" b="1" u="sng" dirty="0" smtClean="0"/>
              <a:t>when</a:t>
            </a:r>
            <a:r>
              <a:rPr lang="en-US" sz="2400" b="1" dirty="0" smtClean="0"/>
              <a:t> is Data or Software is “Developed” or “Produced”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/>
              <a:t>DFARS offers useful </a:t>
            </a:r>
            <a:r>
              <a:rPr lang="en-US" sz="2400" dirty="0" smtClean="0"/>
              <a:t>guidance</a:t>
            </a:r>
            <a:endParaRPr lang="en-US" sz="2400" dirty="0" smtClean="0"/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/>
              <a:t>Does not discuss </a:t>
            </a:r>
            <a:r>
              <a:rPr lang="en-US" sz="2400" b="1" u="sng" dirty="0" smtClean="0"/>
              <a:t>at what level</a:t>
            </a:r>
            <a:r>
              <a:rPr lang="en-US" sz="2400" b="1" dirty="0" smtClean="0"/>
              <a:t> source of development determinations should be made – Segregability or Not?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/>
              <a:t>DFARS offers useful guidance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/>
              <a:t>Does not discuss how to determine if </a:t>
            </a:r>
            <a:r>
              <a:rPr lang="en-US" sz="2400" dirty="0" smtClean="0"/>
              <a:t>data </a:t>
            </a:r>
            <a:r>
              <a:rPr lang="en-US" sz="2400" dirty="0"/>
              <a:t>or software is “</a:t>
            </a:r>
            <a:r>
              <a:rPr lang="en-US" sz="2400" b="1" u="sng" dirty="0"/>
              <a:t>first produced in the performance of this contract”</a:t>
            </a:r>
            <a:r>
              <a:rPr lang="en-US" sz="2400" dirty="0"/>
              <a:t> or </a:t>
            </a:r>
            <a:r>
              <a:rPr lang="en-US" sz="2400" b="1" u="sng" dirty="0"/>
              <a:t>“developed at private expense”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/>
              <a:t>“First produced” does not depend on funding source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endParaRPr lang="en-US" sz="2400" dirty="0" smtClean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When is Data/Software “Developed” or “Produced”</a:t>
            </a:r>
            <a:endParaRPr lang="en-US" sz="32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16554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Data Rights Impact Commercialization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Key Definitions and Concep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Technical Data” vs. “Computer Softwar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Types of Government License Rights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Source of Funds”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Exceptions to the Sources of Funds Test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“Developed at Private Expense”</a:t>
            </a:r>
          </a:p>
          <a:p>
            <a:pPr marL="828675" lvl="2" indent="-285750">
              <a:spcAft>
                <a:spcPts val="1200"/>
              </a:spcAft>
            </a:pPr>
            <a:r>
              <a:rPr lang="en-US" sz="3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“Doctrine of </a:t>
            </a:r>
            <a:r>
              <a:rPr lang="en-US" sz="3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Segregability</a:t>
            </a:r>
            <a:r>
              <a:rPr lang="en-US" sz="3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”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32081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54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>
                <a:latin typeface="Calibri" panose="020F0502020204030204" pitchFamily="34" charset="0"/>
              </a:rPr>
              <a:t>Segregability &amp; Source of Funds Determinations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The determination of the source of funds to develop computer software should be made at any the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lowest </a:t>
            </a:r>
            <a:r>
              <a:rPr lang="en-US" sz="2800" b="1" u="sng" dirty="0" smtClean="0">
                <a:latin typeface="Calibri" panose="020F0502020204030204" pitchFamily="34" charset="0"/>
              </a:rPr>
              <a:t>practicable segregable portion</a:t>
            </a:r>
            <a:r>
              <a:rPr lang="en-US" sz="2800" dirty="0" smtClean="0">
                <a:latin typeface="Calibri" panose="020F0502020204030204" pitchFamily="34" charset="0"/>
              </a:rPr>
              <a:t> of the software or documentation </a:t>
            </a:r>
          </a:p>
          <a:p>
            <a:pPr marL="1104900" lvl="3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i="1" dirty="0" smtClean="0">
                <a:latin typeface="Calibri" panose="020F0502020204030204" pitchFamily="34" charset="0"/>
              </a:rPr>
              <a:t>E.g.</a:t>
            </a:r>
            <a:r>
              <a:rPr lang="en-US" sz="2800" dirty="0" smtClean="0">
                <a:latin typeface="Calibri" panose="020F0502020204030204" pitchFamily="34" charset="0"/>
              </a:rPr>
              <a:t>, a software </a:t>
            </a:r>
            <a:r>
              <a:rPr lang="en-US" sz="2800" b="1" u="sng" dirty="0" smtClean="0">
                <a:latin typeface="Calibri" panose="020F0502020204030204" pitchFamily="34" charset="0"/>
              </a:rPr>
              <a:t>sub-routine</a:t>
            </a:r>
            <a:r>
              <a:rPr lang="en-US" sz="2800" dirty="0" smtClean="0">
                <a:latin typeface="Calibri" panose="020F0502020204030204" pitchFamily="34" charset="0"/>
              </a:rPr>
              <a:t> that </a:t>
            </a:r>
            <a:r>
              <a:rPr lang="en-US" sz="2800" b="1" u="sng" dirty="0" smtClean="0">
                <a:latin typeface="Calibri" panose="020F0502020204030204" pitchFamily="34" charset="0"/>
              </a:rPr>
              <a:t>performs a specific function</a:t>
            </a:r>
            <a:r>
              <a:rPr lang="en-US" sz="2800" dirty="0" smtClean="0">
                <a:latin typeface="Calibri" panose="020F0502020204030204" pitchFamily="34" charset="0"/>
              </a:rPr>
              <a:t>.  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Contractors may assert restricted rights in a </a:t>
            </a:r>
            <a:r>
              <a:rPr lang="en-US" sz="2800" b="1" u="sng" dirty="0" smtClean="0">
                <a:latin typeface="Calibri" panose="020F0502020204030204" pitchFamily="34" charset="0"/>
              </a:rPr>
              <a:t>segregable portion of computer software which </a:t>
            </a:r>
            <a:r>
              <a:rPr lang="en-US" sz="2800" b="1" dirty="0" smtClean="0">
                <a:latin typeface="Calibri" panose="020F0502020204030204" pitchFamily="34" charset="0"/>
              </a:rPr>
              <a:t>otherwise qualifies for restricted rights.</a:t>
            </a:r>
          </a:p>
          <a:p>
            <a:pPr marL="1104900" lvl="3" indent="-285750">
              <a:spcBef>
                <a:spcPts val="0"/>
              </a:spcBef>
              <a:spcAft>
                <a:spcPts val="2400"/>
              </a:spcAft>
            </a:pPr>
            <a:endParaRPr lang="en-US" sz="2400" dirty="0" smtClean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Doctrine of </a:t>
            </a:r>
            <a:r>
              <a:rPr lang="en-US" sz="3200" dirty="0" smtClean="0">
                <a:latin typeface="Calibri" panose="020F0502020204030204" pitchFamily="34" charset="0"/>
              </a:rPr>
              <a:t>Segregability </a:t>
            </a:r>
            <a:r>
              <a:rPr lang="en-US" sz="3200" dirty="0">
                <a:latin typeface="Calibri" panose="020F0502020204030204" pitchFamily="34" charset="0"/>
              </a:rPr>
              <a:t/>
            </a:r>
            <a:br>
              <a:rPr lang="en-US" sz="3200" dirty="0">
                <a:latin typeface="Calibri" panose="020F0502020204030204" pitchFamily="34" charset="0"/>
              </a:rPr>
            </a:br>
            <a:r>
              <a:rPr lang="en-US" sz="3200" dirty="0">
                <a:solidFill>
                  <a:srgbClr val="FF0000"/>
                </a:solidFill>
                <a:latin typeface="Calibri" panose="020F0502020204030204" pitchFamily="34" charset="0"/>
              </a:rPr>
              <a:t>Computer Software</a:t>
            </a:r>
            <a:endParaRPr lang="en-US" sz="3200" u="sng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40396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55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5"/>
            <a:ext cx="8807116" cy="5539889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Segregability &amp; Source </a:t>
            </a:r>
            <a:r>
              <a:rPr lang="en-US" sz="2800" b="1" u="sng" dirty="0">
                <a:latin typeface="Calibri" panose="020F0502020204030204" pitchFamily="34" charset="0"/>
              </a:rPr>
              <a:t>of Funds Determinations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The determination of the sources of development funds for technical data pertaining to items, components, or processes should be made at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any</a:t>
            </a:r>
            <a:r>
              <a:rPr lang="en-US" sz="2800" b="1" u="sng" dirty="0" smtClean="0">
                <a:latin typeface="Calibri" panose="020F0502020204030204" pitchFamily="34" charset="0"/>
              </a:rPr>
              <a:t> practical sub-item or sub-component level</a:t>
            </a:r>
            <a:r>
              <a:rPr lang="en-US" sz="2800" dirty="0" smtClean="0">
                <a:latin typeface="Calibri" panose="020F0502020204030204" pitchFamily="34" charset="0"/>
              </a:rPr>
              <a:t> or for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any</a:t>
            </a:r>
            <a:r>
              <a:rPr lang="en-US" sz="2800" b="1" u="sng" dirty="0" smtClean="0">
                <a:latin typeface="Calibri" panose="020F0502020204030204" pitchFamily="34" charset="0"/>
              </a:rPr>
              <a:t> segregable portion</a:t>
            </a:r>
            <a:r>
              <a:rPr lang="en-US" sz="2800" dirty="0" smtClean="0">
                <a:latin typeface="Calibri" panose="020F0502020204030204" pitchFamily="34" charset="0"/>
              </a:rPr>
              <a:t> of a process.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Contractors may assert limited rights in a </a:t>
            </a:r>
            <a:r>
              <a:rPr lang="en-US" sz="2800" b="1" u="sng" dirty="0" smtClean="0">
                <a:latin typeface="Calibri" panose="020F0502020204030204" pitchFamily="34" charset="0"/>
              </a:rPr>
              <a:t>segregable sub-item, sub-component</a:t>
            </a:r>
            <a:r>
              <a:rPr lang="en-US" sz="2800" b="1" dirty="0" smtClean="0">
                <a:latin typeface="Calibri" panose="020F0502020204030204" pitchFamily="34" charset="0"/>
              </a:rPr>
              <a:t>, or </a:t>
            </a:r>
            <a:r>
              <a:rPr lang="en-US" sz="2800" b="1" u="sng" dirty="0" smtClean="0">
                <a:latin typeface="Calibri" panose="020F0502020204030204" pitchFamily="34" charset="0"/>
              </a:rPr>
              <a:t>portion of a process</a:t>
            </a:r>
            <a:r>
              <a:rPr lang="en-US" sz="2800" b="1" dirty="0" smtClean="0">
                <a:latin typeface="Calibri" panose="020F0502020204030204" pitchFamily="34" charset="0"/>
              </a:rPr>
              <a:t> which otherwise qualifies for limited rights.</a:t>
            </a:r>
          </a:p>
          <a:p>
            <a:pPr marL="1104900" lvl="3" indent="-285750">
              <a:spcBef>
                <a:spcPts val="0"/>
              </a:spcBef>
              <a:spcAft>
                <a:spcPts val="2400"/>
              </a:spcAft>
            </a:pPr>
            <a:endParaRPr lang="en-US" sz="2400" dirty="0" smtClean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200" dirty="0">
                <a:latin typeface="Calibri" panose="020F0502020204030204" pitchFamily="34" charset="0"/>
              </a:rPr>
              <a:t>Doctrine of </a:t>
            </a:r>
            <a:r>
              <a:rPr lang="en-US" sz="3200" dirty="0" smtClean="0">
                <a:latin typeface="Calibri" panose="020F0502020204030204" pitchFamily="34" charset="0"/>
              </a:rPr>
              <a:t>Segregability </a:t>
            </a:r>
            <a:r>
              <a:rPr lang="en-US" sz="3200" dirty="0">
                <a:latin typeface="Calibri" panose="020F0502020204030204" pitchFamily="34" charset="0"/>
              </a:rPr>
              <a:t/>
            </a:r>
            <a:br>
              <a:rPr lang="en-US" sz="3200" dirty="0">
                <a:latin typeface="Calibri" panose="020F0502020204030204" pitchFamily="34" charset="0"/>
              </a:rPr>
            </a:br>
            <a:r>
              <a:rPr lang="en-US" sz="32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Technical Data</a:t>
            </a:r>
            <a:endParaRPr lang="en-US" sz="32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47184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56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4778" y="1164920"/>
            <a:ext cx="8229600" cy="5109945"/>
          </a:xfrm>
        </p:spPr>
        <p:txBody>
          <a:bodyPr/>
          <a:lstStyle/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Strategic Research &amp; Development Plan to Enhance Commercialization</a:t>
            </a:r>
          </a:p>
        </p:txBody>
      </p:sp>
    </p:spTree>
    <p:extLst>
      <p:ext uri="{BB962C8B-B14F-4D97-AF65-F5344CB8AC3E}">
        <p14:creationId xmlns:p14="http://schemas.microsoft.com/office/powerpoint/2010/main" val="16729119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TECHNOLOGY BLUEPRINT</a:t>
            </a:r>
            <a:endParaRPr lang="en-US" sz="4400" dirty="0">
              <a:latin typeface="Calibri" panose="020F0502020204030204" pitchFamily="34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0791" y="1692773"/>
            <a:ext cx="4461812" cy="4089994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57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9057" y="1506862"/>
            <a:ext cx="4433751" cy="446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88900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Technology Blueprint 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Design and Plan Development Activities Around the “Doctrine of </a:t>
            </a:r>
            <a:r>
              <a:rPr lang="en-US" sz="2800" b="1" dirty="0" smtClean="0">
                <a:latin typeface="Calibri" panose="020F0502020204030204" pitchFamily="34" charset="0"/>
              </a:rPr>
              <a:t>Segregability</a:t>
            </a:r>
            <a:r>
              <a:rPr lang="en-US" sz="2800" b="1" dirty="0" smtClean="0">
                <a:latin typeface="Calibri" panose="020F0502020204030204" pitchFamily="34" charset="0"/>
              </a:rPr>
              <a:t>”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b="1" u="sng" dirty="0" smtClean="0">
                <a:latin typeface="Calibri" panose="020F0502020204030204" pitchFamily="34" charset="0"/>
              </a:rPr>
              <a:t>Develop a list of development activities</a:t>
            </a:r>
            <a:r>
              <a:rPr lang="en-US" sz="2400" dirty="0" smtClean="0">
                <a:latin typeface="Calibri" panose="020F0502020204030204" pitchFamily="34" charset="0"/>
              </a:rPr>
              <a:t> based on the </a:t>
            </a:r>
            <a:r>
              <a:rPr lang="en-US" sz="2400" b="1" u="sng" dirty="0" smtClean="0">
                <a:latin typeface="Calibri" panose="020F0502020204030204" pitchFamily="34" charset="0"/>
              </a:rPr>
              <a:t>“lowest practicable level”</a:t>
            </a:r>
            <a:r>
              <a:rPr lang="en-US" sz="2400" dirty="0" smtClean="0">
                <a:latin typeface="Calibri" panose="020F0502020204030204" pitchFamily="34" charset="0"/>
              </a:rPr>
              <a:t> of technical data or software, based on </a:t>
            </a:r>
            <a:r>
              <a:rPr lang="en-US" sz="2400" b="1" u="sng" dirty="0" smtClean="0">
                <a:latin typeface="Calibri" panose="020F0502020204030204" pitchFamily="34" charset="0"/>
              </a:rPr>
              <a:t>functionality and physical divisibility</a:t>
            </a:r>
            <a:r>
              <a:rPr lang="en-US" sz="2400" dirty="0" smtClean="0">
                <a:latin typeface="Calibri" panose="020F0502020204030204" pitchFamily="34" charset="0"/>
              </a:rPr>
              <a:t>: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b="1" u="sng" dirty="0" smtClean="0">
                <a:latin typeface="Calibri" panose="020F0502020204030204" pitchFamily="34" charset="0"/>
              </a:rPr>
              <a:t>For Data</a:t>
            </a:r>
            <a:r>
              <a:rPr lang="en-US" sz="2400" dirty="0" smtClean="0">
                <a:latin typeface="Calibri" panose="020F0502020204030204" pitchFamily="34" charset="0"/>
              </a:rPr>
              <a:t>:  portions of data that are functionally and physically divisible, such as components and subcomponents and sub-processe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b="1" u="sng" dirty="0" smtClean="0">
                <a:latin typeface="Calibri" panose="020F0502020204030204" pitchFamily="34" charset="0"/>
              </a:rPr>
              <a:t>For Software</a:t>
            </a:r>
            <a:r>
              <a:rPr lang="en-US" sz="2400" dirty="0" smtClean="0">
                <a:latin typeface="Calibri" panose="020F0502020204030204" pitchFamily="34" charset="0"/>
              </a:rPr>
              <a:t>:  portions of the software program that are physically and functionally divisible, such as modules and sub-routines that perform a specific function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b="1" u="sng" dirty="0" smtClean="0">
                <a:latin typeface="Calibri" panose="020F0502020204030204" pitchFamily="34" charset="0"/>
              </a:rPr>
              <a:t>For both</a:t>
            </a:r>
            <a:r>
              <a:rPr lang="en-US" sz="2400" dirty="0" smtClean="0">
                <a:latin typeface="Calibri" panose="020F0502020204030204" pitchFamily="34" charset="0"/>
              </a:rPr>
              <a:t>, this includes modifications or amendments to </a:t>
            </a:r>
            <a:r>
              <a:rPr lang="en-US" sz="2400" dirty="0" smtClean="0">
                <a:latin typeface="Calibri" panose="020F0502020204030204" pitchFamily="34" charset="0"/>
              </a:rPr>
              <a:t>prior </a:t>
            </a:r>
            <a:r>
              <a:rPr lang="en-US" sz="2400" dirty="0" smtClean="0">
                <a:latin typeface="Calibri" panose="020F0502020204030204" pitchFamily="34" charset="0"/>
              </a:rPr>
              <a:t>iterations of </a:t>
            </a:r>
            <a:r>
              <a:rPr lang="en-US" sz="2400" dirty="0" smtClean="0">
                <a:latin typeface="Calibri" panose="020F0502020204030204" pitchFamily="34" charset="0"/>
              </a:rPr>
              <a:t>segregable </a:t>
            </a:r>
            <a:r>
              <a:rPr lang="en-US" sz="2400" dirty="0" smtClean="0">
                <a:latin typeface="Calibri" panose="020F0502020204030204" pitchFamily="34" charset="0"/>
              </a:rPr>
              <a:t>portions</a:t>
            </a: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3155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Strategic Development Plan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Segregation of Data and Software at Lowest Practicable Level is </a:t>
            </a:r>
            <a:r>
              <a:rPr lang="en-US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REALLY IMPORTANT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>
                <a:latin typeface="Calibri" panose="020F0502020204030204" pitchFamily="34" charset="0"/>
              </a:rPr>
              <a:t>A contractor’s intellectual property rights </a:t>
            </a:r>
            <a:r>
              <a:rPr lang="en-US" sz="2400" b="1" u="sng" dirty="0" smtClean="0">
                <a:latin typeface="Calibri" panose="020F0502020204030204" pitchFamily="34" charset="0"/>
              </a:rPr>
              <a:t>depend on the source of funding</a:t>
            </a:r>
            <a:r>
              <a:rPr lang="en-US" sz="2400" dirty="0" smtClean="0">
                <a:latin typeface="Calibri" panose="020F0502020204030204" pitchFamily="34" charset="0"/>
              </a:rPr>
              <a:t> for the development of data/software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>
                <a:latin typeface="Calibri" panose="020F0502020204030204" pitchFamily="34" charset="0"/>
              </a:rPr>
              <a:t>Source of funding can change </a:t>
            </a:r>
            <a:r>
              <a:rPr lang="en-US" sz="2400" b="1" u="sng" dirty="0" smtClean="0">
                <a:latin typeface="Calibri" panose="020F0502020204030204" pitchFamily="34" charset="0"/>
              </a:rPr>
              <a:t>level-by-level</a:t>
            </a:r>
            <a:r>
              <a:rPr lang="en-US" sz="2400" b="1" dirty="0" smtClean="0">
                <a:latin typeface="Calibri" panose="020F0502020204030204" pitchFamily="34" charset="0"/>
              </a:rPr>
              <a:t> within a broader piece of technology</a:t>
            </a:r>
            <a:r>
              <a:rPr lang="en-US" sz="2400" dirty="0" smtClean="0">
                <a:latin typeface="Calibri" panose="020F0502020204030204" pitchFamily="34" charset="0"/>
              </a:rPr>
              <a:t> (including government-funded work of discrete sub-process or sub-component).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>
                <a:latin typeface="Calibri" panose="020F0502020204030204" pitchFamily="34" charset="0"/>
              </a:rPr>
              <a:t>Design and track development work to retain greatest rights in </a:t>
            </a:r>
            <a:r>
              <a:rPr lang="en-US" sz="2400" b="1" u="sng" dirty="0" smtClean="0">
                <a:latin typeface="Calibri" panose="020F0502020204030204" pitchFamily="34" charset="0"/>
              </a:rPr>
              <a:t>privately funded portions</a:t>
            </a:r>
            <a:r>
              <a:rPr lang="en-US" sz="2400" dirty="0" smtClean="0">
                <a:latin typeface="Calibri" panose="020F0502020204030204" pitchFamily="34" charset="0"/>
              </a:rPr>
              <a:t> of data or software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b="1" u="sng" dirty="0" smtClean="0">
                <a:latin typeface="Calibri" panose="020F0502020204030204" pitchFamily="34" charset="0"/>
              </a:rPr>
              <a:t>Sub</a:t>
            </a:r>
            <a:r>
              <a:rPr lang="en-US" sz="2400" dirty="0" smtClean="0">
                <a:latin typeface="Calibri" panose="020F0502020204030204" pitchFamily="34" charset="0"/>
              </a:rPr>
              <a:t>-routine, </a:t>
            </a:r>
            <a:r>
              <a:rPr lang="en-US" sz="2400" b="1" u="sng" dirty="0">
                <a:latin typeface="Calibri" panose="020F0502020204030204" pitchFamily="34" charset="0"/>
              </a:rPr>
              <a:t>S</a:t>
            </a:r>
            <a:r>
              <a:rPr lang="en-US" sz="2400" b="1" u="sng" dirty="0" smtClean="0">
                <a:latin typeface="Calibri" panose="020F0502020204030204" pitchFamily="34" charset="0"/>
              </a:rPr>
              <a:t>ub</a:t>
            </a:r>
            <a:r>
              <a:rPr lang="en-US" sz="2400" dirty="0" smtClean="0">
                <a:latin typeface="Calibri" panose="020F0502020204030204" pitchFamily="34" charset="0"/>
              </a:rPr>
              <a:t>-item, </a:t>
            </a:r>
            <a:r>
              <a:rPr lang="en-US" sz="2400" b="1" u="sng" dirty="0" smtClean="0">
                <a:latin typeface="Calibri" panose="020F0502020204030204" pitchFamily="34" charset="0"/>
              </a:rPr>
              <a:t>Sub</a:t>
            </a:r>
            <a:r>
              <a:rPr lang="en-US" sz="2400" dirty="0" smtClean="0">
                <a:latin typeface="Calibri" panose="020F0502020204030204" pitchFamily="34" charset="0"/>
              </a:rPr>
              <a:t>-component, </a:t>
            </a:r>
            <a:r>
              <a:rPr lang="en-US" sz="2400" b="1" u="sng" dirty="0" smtClean="0">
                <a:latin typeface="Calibri" panose="020F0502020204030204" pitchFamily="34" charset="0"/>
              </a:rPr>
              <a:t>Sub</a:t>
            </a:r>
            <a:r>
              <a:rPr lang="en-US" sz="2400" dirty="0" smtClean="0">
                <a:latin typeface="Calibri" panose="020F0502020204030204" pitchFamily="34" charset="0"/>
              </a:rPr>
              <a:t>-proces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59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92100" y="5532440"/>
            <a:ext cx="8851900" cy="914400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Strategy</a:t>
            </a: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: </a:t>
            </a:r>
            <a:r>
              <a:rPr lang="en-US" sz="2800" i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enhance commercialization</a:t>
            </a: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by privately funding </a:t>
            </a:r>
            <a:r>
              <a:rPr lang="en-US" sz="2800" dirty="0">
                <a:solidFill>
                  <a:srgbClr val="FF0000"/>
                </a:solidFill>
                <a:latin typeface="Calibri" panose="020F0502020204030204" pitchFamily="34" charset="0"/>
              </a:rPr>
              <a:t>key sub-portions of data/software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9691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6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4778" y="1164920"/>
            <a:ext cx="8229600" cy="5109945"/>
          </a:xfrm>
        </p:spPr>
        <p:txBody>
          <a:bodyPr/>
          <a:lstStyle/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Federal Policy regarding</a:t>
            </a:r>
          </a:p>
          <a:p>
            <a:pPr algn="ctr"/>
            <a:r>
              <a:rPr lang="en-US" sz="5400" b="1" dirty="0">
                <a:latin typeface="Calibri" pitchFamily="34" charset="0"/>
                <a:cs typeface="Calibri" pitchFamily="34" charset="0"/>
              </a:rPr>
              <a:t>Federally-Funded </a:t>
            </a: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Intellectual Property</a:t>
            </a:r>
          </a:p>
        </p:txBody>
      </p:sp>
    </p:spTree>
    <p:extLst>
      <p:ext uri="{BB962C8B-B14F-4D97-AF65-F5344CB8AC3E}">
        <p14:creationId xmlns:p14="http://schemas.microsoft.com/office/powerpoint/2010/main" val="18317837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Strategic Funding Plan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Plan Development for Each Segregable Portion of the Technology around “Source of Funds” Test</a:t>
            </a:r>
            <a:endParaRPr lang="en-US" sz="2800" b="1" dirty="0" smtClean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 smtClean="0">
                <a:latin typeface="Calibri" panose="020F0502020204030204" pitchFamily="34" charset="0"/>
              </a:rPr>
              <a:t>Once the technology is broken down into lowest segregable portions, map out development in phases over time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 smtClean="0">
                <a:latin typeface="Calibri" panose="020F0502020204030204" pitchFamily="34" charset="0"/>
              </a:rPr>
              <a:t>Consider potential funding sources for each segregable portion: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 smtClean="0">
                <a:latin typeface="Calibri" panose="020F0502020204030204" pitchFamily="34" charset="0"/>
              </a:rPr>
              <a:t>Exclusively Government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 smtClean="0">
                <a:latin typeface="Calibri" panose="020F0502020204030204" pitchFamily="34" charset="0"/>
              </a:rPr>
              <a:t>Mixed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 smtClean="0">
                <a:latin typeface="Calibri" panose="020F0502020204030204" pitchFamily="34" charset="0"/>
              </a:rPr>
              <a:t>Exclusively Private</a:t>
            </a:r>
            <a:endParaRPr lang="en-US" sz="26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92100" y="5943600"/>
            <a:ext cx="8851900" cy="914400"/>
          </a:xfrm>
          <a:prstGeom prst="rect">
            <a:avLst/>
          </a:prstGeom>
          <a:solidFill>
            <a:schemeClr val="bg1"/>
          </a:solidFill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Strategy</a:t>
            </a: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: </a:t>
            </a:r>
            <a:r>
              <a:rPr lang="en-US" sz="2800" i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enhance commercialization</a:t>
            </a: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by privately funding </a:t>
            </a:r>
            <a:r>
              <a:rPr lang="en-US" sz="2800" dirty="0">
                <a:solidFill>
                  <a:srgbClr val="FF0000"/>
                </a:solidFill>
                <a:latin typeface="Calibri" panose="020F0502020204030204" pitchFamily="34" charset="0"/>
              </a:rPr>
              <a:t>key sub-portions of data/software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76301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Maintain Records and Inventory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31900"/>
            <a:ext cx="8229600" cy="4846971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Collect and maintain accurate records</a:t>
            </a:r>
            <a:r>
              <a:rPr lang="en-US" sz="2800" b="1" dirty="0" smtClean="0">
                <a:latin typeface="Calibri" panose="020F0502020204030204" pitchFamily="34" charset="0"/>
              </a:rPr>
              <a:t> of time and source of funds of each segregable portion of technology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As segregable portions are completed, maintain an inventory that assigns data rights assertion that aligns with particular funding source</a:t>
            </a: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61</a:t>
            </a:fld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7151377"/>
              </p:ext>
            </p:extLst>
          </p:nvPr>
        </p:nvGraphicFramePr>
        <p:xfrm>
          <a:off x="457200" y="4057017"/>
          <a:ext cx="8127999" cy="1569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28800"/>
                <a:gridCol w="2476500"/>
                <a:gridCol w="382269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latin typeface="Calibri" panose="020F0502020204030204" pitchFamily="34" charset="0"/>
                        </a:rPr>
                        <a:t>Sub-Process</a:t>
                      </a:r>
                      <a:endParaRPr lang="en-US" sz="24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latin typeface="Calibri" panose="020F0502020204030204" pitchFamily="34" charset="0"/>
                        </a:rPr>
                        <a:t>Funding Source</a:t>
                      </a:r>
                      <a:endParaRPr lang="en-US" sz="24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latin typeface="Calibri" panose="020F0502020204030204" pitchFamily="34" charset="0"/>
                        </a:rPr>
                        <a:t>Data Rights Assertion</a:t>
                      </a:r>
                      <a:endParaRPr lang="en-US" sz="24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vate</a:t>
                      </a:r>
                      <a:r>
                        <a:rPr lang="en-US" baseline="0" dirty="0" smtClean="0"/>
                        <a:t> Expen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Limited</a:t>
                      </a:r>
                      <a:r>
                        <a:rPr lang="en-US" baseline="0" dirty="0" smtClean="0"/>
                        <a:t> Right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ixed Fund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overnment Purpo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overnment Expens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nlimited Right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280988" y="6068484"/>
            <a:ext cx="8863012" cy="691054"/>
          </a:xfrm>
          <a:prstGeom prst="rect">
            <a:avLst/>
          </a:prstGeom>
          <a:solidFill>
            <a:schemeClr val="bg1"/>
          </a:solidFill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7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Inventory can be used for </a:t>
            </a:r>
            <a:r>
              <a:rPr lang="en-US" sz="27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Data Rights Assertions</a:t>
            </a:r>
            <a:r>
              <a:rPr lang="en-US" sz="27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 in Proposals</a:t>
            </a:r>
            <a:endParaRPr lang="en-US" sz="27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83463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62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4778" y="1164920"/>
            <a:ext cx="8229600" cy="5109945"/>
          </a:xfrm>
        </p:spPr>
        <p:txBody>
          <a:bodyPr/>
          <a:lstStyle/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Considerations for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Record Keeping of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Technology Development</a:t>
            </a:r>
          </a:p>
        </p:txBody>
      </p:sp>
    </p:spTree>
    <p:extLst>
      <p:ext uri="{BB962C8B-B14F-4D97-AF65-F5344CB8AC3E}">
        <p14:creationId xmlns:p14="http://schemas.microsoft.com/office/powerpoint/2010/main" val="35218985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63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7302903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4000" b="1" dirty="0" smtClean="0">
                <a:latin typeface="Calibri" panose="020F0502020204030204" pitchFamily="34" charset="0"/>
              </a:rPr>
              <a:t>Why It Matters</a:t>
            </a:r>
            <a:endParaRPr lang="en-US" sz="4000" b="1" dirty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Gov’t can challenge</a:t>
            </a:r>
            <a:r>
              <a:rPr lang="en-US" sz="2800" dirty="0" smtClean="0">
                <a:latin typeface="Calibri" panose="020F0502020204030204" pitchFamily="34" charset="0"/>
              </a:rPr>
              <a:t> restrictive markings on Technical Data and Computer Software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Burden is on the Contractor</a:t>
            </a:r>
            <a:r>
              <a:rPr lang="en-US" sz="2800" b="1" dirty="0" smtClean="0">
                <a:latin typeface="Calibri" panose="020F0502020204030204" pitchFamily="34" charset="0"/>
              </a:rPr>
              <a:t> to prove</a:t>
            </a:r>
            <a:r>
              <a:rPr lang="en-US" sz="2800" dirty="0" smtClean="0">
                <a:latin typeface="Calibri" panose="020F0502020204030204" pitchFamily="34" charset="0"/>
              </a:rPr>
              <a:t> that restrictive markings is justified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 DFARS requires contractor to </a:t>
            </a:r>
            <a:r>
              <a:rPr lang="en-US" sz="2800" b="1" u="sng" dirty="0" smtClean="0">
                <a:latin typeface="Calibri" panose="020F0502020204030204" pitchFamily="34" charset="0"/>
              </a:rPr>
              <a:t>maintain records</a:t>
            </a:r>
            <a:r>
              <a:rPr lang="en-US" sz="2800" dirty="0" smtClean="0">
                <a:latin typeface="Calibri" panose="020F0502020204030204" pitchFamily="34" charset="0"/>
              </a:rPr>
              <a:t> sufficient to justify validity of every marking on data/software delivered under contract</a:t>
            </a:r>
          </a:p>
          <a:p>
            <a:pPr marL="1104900" lvl="3" indent="-285750">
              <a:spcBef>
                <a:spcPts val="0"/>
              </a:spcBef>
              <a:spcAft>
                <a:spcPts val="1800"/>
              </a:spcAft>
            </a:pPr>
            <a:r>
              <a:rPr lang="en-US" sz="2400" dirty="0" smtClean="0">
                <a:latin typeface="Calibri" panose="020F0502020204030204" pitchFamily="34" charset="0"/>
              </a:rPr>
              <a:t>FAR 52.227-14(e); DFARS 252.227-7019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Documenting Development Activities</a:t>
            </a:r>
            <a:endParaRPr lang="en-US" sz="4000" u="sng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5693" y="1123958"/>
            <a:ext cx="1808307" cy="272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5550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64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Commit Resources to Keep Records and Track Private-Expense Development Efforts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Engineering Records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Accounting Records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Time Sheets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3200" dirty="0" smtClean="0">
                <a:latin typeface="Calibri" panose="020F0502020204030204" pitchFamily="34" charset="0"/>
              </a:rPr>
              <a:t>Project Records</a:t>
            </a:r>
          </a:p>
          <a:p>
            <a:pPr marL="342900" indent="-3429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u="sng" dirty="0" smtClean="0">
                <a:latin typeface="Calibri" panose="020F0502020204030204" pitchFamily="34" charset="0"/>
              </a:rPr>
              <a:t>Maintain at least Three Years</a:t>
            </a:r>
            <a:r>
              <a:rPr lang="en-US" sz="3200" dirty="0" smtClean="0">
                <a:latin typeface="Calibri" panose="020F0502020204030204" pitchFamily="34" charset="0"/>
              </a:rPr>
              <a:t> after Delivery or Final Payment (whichever later)</a:t>
            </a:r>
            <a:endParaRPr lang="en-US" sz="32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Documenting Development Activities</a:t>
            </a:r>
            <a:endParaRPr lang="en-US" sz="4000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1129" y="3064476"/>
            <a:ext cx="2171093" cy="176259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4991" y="2488160"/>
            <a:ext cx="2556138" cy="2624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5719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65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35924" y="1123958"/>
            <a:ext cx="8847438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Elements of Record Keeping:  </a:t>
            </a:r>
            <a:r>
              <a:rPr lang="en-US" sz="3200" b="1" dirty="0" smtClean="0">
                <a:latin typeface="Calibri" panose="020F0502020204030204" pitchFamily="34" charset="0"/>
              </a:rPr>
              <a:t>Interplay Between</a:t>
            </a:r>
            <a:endParaRPr lang="en-US" sz="3200" b="1" dirty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Documenting Development Activities</a:t>
            </a:r>
            <a:endParaRPr lang="en-US" sz="4000" u="sng" dirty="0">
              <a:latin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336" y="4719231"/>
            <a:ext cx="2855767" cy="213876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923" y="1551798"/>
            <a:ext cx="3133519" cy="231586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426" y="2078391"/>
            <a:ext cx="2548587" cy="254858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8392" y="4719231"/>
            <a:ext cx="3338566" cy="2138769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784898" y="1722552"/>
            <a:ext cx="2831700" cy="5282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/>
              <a:t>“Segregability”</a:t>
            </a:r>
            <a:endParaRPr lang="en-US" sz="3200" dirty="0"/>
          </a:p>
        </p:txBody>
      </p:sp>
      <p:sp>
        <p:nvSpPr>
          <p:cNvPr id="12" name="Rectangle 11"/>
          <p:cNvSpPr/>
          <p:nvPr/>
        </p:nvSpPr>
        <p:spPr>
          <a:xfrm>
            <a:off x="396336" y="4154649"/>
            <a:ext cx="6412237" cy="5282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/>
              <a:t>“Source of Funds”</a:t>
            </a:r>
            <a:endParaRPr lang="en-US" sz="2800" dirty="0"/>
          </a:p>
        </p:txBody>
      </p:sp>
      <p:sp>
        <p:nvSpPr>
          <p:cNvPr id="13" name="Rectangle 12"/>
          <p:cNvSpPr/>
          <p:nvPr/>
        </p:nvSpPr>
        <p:spPr>
          <a:xfrm>
            <a:off x="3748726" y="2773019"/>
            <a:ext cx="2831700" cy="5282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/>
              <a:t>“Developed”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8266172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66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5"/>
            <a:ext cx="8807116" cy="5539889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Segregability &amp; Source </a:t>
            </a:r>
            <a:r>
              <a:rPr lang="en-US" sz="2800" b="1" u="sng" dirty="0">
                <a:latin typeface="Calibri" panose="020F0502020204030204" pitchFamily="34" charset="0"/>
              </a:rPr>
              <a:t>of Funds Determinations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The determination of the sources of development funds for technical data pertaining to items, components, or processes should be made at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any</a:t>
            </a:r>
            <a:r>
              <a:rPr lang="en-US" sz="2800" b="1" u="sng" dirty="0" smtClean="0">
                <a:latin typeface="Calibri" panose="020F0502020204030204" pitchFamily="34" charset="0"/>
              </a:rPr>
              <a:t> practical sub-item or sub-component level</a:t>
            </a:r>
            <a:r>
              <a:rPr lang="en-US" sz="2800" dirty="0" smtClean="0">
                <a:latin typeface="Calibri" panose="020F0502020204030204" pitchFamily="34" charset="0"/>
              </a:rPr>
              <a:t> or for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any</a:t>
            </a:r>
            <a:r>
              <a:rPr lang="en-US" sz="2800" b="1" u="sng" dirty="0" smtClean="0">
                <a:latin typeface="Calibri" panose="020F0502020204030204" pitchFamily="34" charset="0"/>
              </a:rPr>
              <a:t> segregable portion</a:t>
            </a:r>
            <a:r>
              <a:rPr lang="en-US" sz="2800" dirty="0" smtClean="0">
                <a:latin typeface="Calibri" panose="020F0502020204030204" pitchFamily="34" charset="0"/>
              </a:rPr>
              <a:t> of a process.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endParaRPr lang="en-US" sz="2800" b="1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Contractors </a:t>
            </a:r>
            <a:r>
              <a:rPr lang="en-US" sz="2800" b="1" dirty="0" smtClean="0">
                <a:latin typeface="Calibri" panose="020F0502020204030204" pitchFamily="34" charset="0"/>
              </a:rPr>
              <a:t>may assert limited rights in a </a:t>
            </a:r>
            <a:r>
              <a:rPr lang="en-US" sz="2800" b="1" u="sng" dirty="0" smtClean="0">
                <a:latin typeface="Calibri" panose="020F0502020204030204" pitchFamily="34" charset="0"/>
              </a:rPr>
              <a:t>segregable sub-item, sub-component</a:t>
            </a:r>
            <a:r>
              <a:rPr lang="en-US" sz="2800" b="1" dirty="0" smtClean="0">
                <a:latin typeface="Calibri" panose="020F0502020204030204" pitchFamily="34" charset="0"/>
              </a:rPr>
              <a:t>, or </a:t>
            </a:r>
            <a:r>
              <a:rPr lang="en-US" sz="2800" b="1" u="sng" dirty="0" smtClean="0">
                <a:latin typeface="Calibri" panose="020F0502020204030204" pitchFamily="34" charset="0"/>
              </a:rPr>
              <a:t>portion of a process</a:t>
            </a:r>
            <a:r>
              <a:rPr lang="en-US" sz="2800" b="1" dirty="0" smtClean="0">
                <a:latin typeface="Calibri" panose="020F0502020204030204" pitchFamily="34" charset="0"/>
              </a:rPr>
              <a:t> which otherwise qualifies for limited rights.</a:t>
            </a:r>
          </a:p>
          <a:p>
            <a:pPr marL="1104900" lvl="3" indent="-285750">
              <a:spcBef>
                <a:spcPts val="0"/>
              </a:spcBef>
              <a:spcAft>
                <a:spcPts val="2400"/>
              </a:spcAft>
            </a:pPr>
            <a:endParaRPr lang="en-US" sz="2400" dirty="0" smtClean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Documenting Development Activities</a:t>
            </a:r>
            <a:br>
              <a:rPr lang="en-US" sz="3200" dirty="0" smtClean="0">
                <a:latin typeface="Calibri" panose="020F0502020204030204" pitchFamily="34" charset="0"/>
              </a:rPr>
            </a:br>
            <a:r>
              <a:rPr lang="en-US" sz="32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Segregability of Technical </a:t>
            </a:r>
            <a:r>
              <a:rPr lang="en-US" sz="32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Data</a:t>
            </a:r>
            <a:endParaRPr lang="en-US" sz="32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605" y="3719383"/>
            <a:ext cx="1752237" cy="1295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5978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67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561975" lvl="1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dirty="0" smtClean="0"/>
              <a:t>When </a:t>
            </a:r>
            <a:r>
              <a:rPr lang="en-US" sz="2400" b="1" dirty="0" smtClean="0"/>
              <a:t>is </a:t>
            </a:r>
            <a:r>
              <a:rPr lang="en-US" sz="2400" b="1" u="sng" dirty="0" smtClean="0"/>
              <a:t>Technical Data</a:t>
            </a:r>
            <a:r>
              <a:rPr lang="en-US" sz="2400" b="1" dirty="0" smtClean="0"/>
              <a:t> “Developed”?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dirty="0" smtClean="0"/>
              <a:t>An item, component, or process </a:t>
            </a:r>
            <a:r>
              <a:rPr lang="en-US" sz="2400" b="1" u="sng" dirty="0" smtClean="0"/>
              <a:t>exists and is workable</a:t>
            </a:r>
            <a:r>
              <a:rPr lang="en-US" sz="2400" dirty="0" smtClean="0"/>
              <a:t>.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dirty="0" smtClean="0"/>
              <a:t>The item or component must have been </a:t>
            </a:r>
            <a:r>
              <a:rPr lang="en-US" sz="2400" b="1" u="sng" dirty="0" smtClean="0"/>
              <a:t>constructed</a:t>
            </a:r>
            <a:r>
              <a:rPr lang="en-US" sz="2400" dirty="0" smtClean="0"/>
              <a:t> or the process </a:t>
            </a:r>
            <a:r>
              <a:rPr lang="en-US" sz="2400" b="1" u="sng" dirty="0" smtClean="0"/>
              <a:t>practiced</a:t>
            </a:r>
            <a:r>
              <a:rPr lang="en-US" sz="2400" dirty="0" smtClean="0"/>
              <a:t>.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dirty="0" smtClean="0"/>
              <a:t>“Workability”</a:t>
            </a:r>
            <a:r>
              <a:rPr lang="en-US" sz="2400" dirty="0" smtClean="0"/>
              <a:t> is established when </a:t>
            </a:r>
            <a:r>
              <a:rPr lang="en-US" sz="2400" b="1" u="sng" dirty="0" smtClean="0"/>
              <a:t>tested sufficiently to demonstrate</a:t>
            </a:r>
            <a:r>
              <a:rPr lang="en-US" sz="2400" dirty="0" smtClean="0"/>
              <a:t> to reasonable people skilled in the art that there is a high probability it will operate as intended.</a:t>
            </a:r>
            <a:endParaRPr lang="en-US" sz="2400" dirty="0"/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u="sng" dirty="0" smtClean="0"/>
              <a:t>Need not be at the stage</a:t>
            </a:r>
            <a:r>
              <a:rPr lang="en-US" sz="2400" dirty="0" smtClean="0"/>
              <a:t> where it could be offered for sale on the </a:t>
            </a:r>
            <a:r>
              <a:rPr lang="en-US" sz="2400" b="1" dirty="0" smtClean="0"/>
              <a:t>commercial market</a:t>
            </a:r>
            <a:r>
              <a:rPr lang="en-US" sz="2400" dirty="0" smtClean="0"/>
              <a:t>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2"/>
            <a:ext cx="9144000" cy="659296"/>
          </a:xfrm>
        </p:spPr>
        <p:txBody>
          <a:bodyPr>
            <a:noAutofit/>
          </a:bodyPr>
          <a:lstStyle/>
          <a:p>
            <a:pPr algn="ctr"/>
            <a:r>
              <a:rPr lang="en-US" sz="3200" dirty="0">
                <a:latin typeface="Calibri" panose="020F0502020204030204" pitchFamily="34" charset="0"/>
              </a:rPr>
              <a:t>When is </a:t>
            </a:r>
            <a:r>
              <a:rPr lang="en-US" sz="3200" dirty="0" smtClean="0">
                <a:latin typeface="Calibri" panose="020F0502020204030204" pitchFamily="34" charset="0"/>
              </a:rPr>
              <a:t>Technical Data “</a:t>
            </a:r>
            <a:r>
              <a:rPr lang="en-US" sz="3200" dirty="0">
                <a:latin typeface="Calibri" panose="020F0502020204030204" pitchFamily="34" charset="0"/>
              </a:rPr>
              <a:t>Developed” or “Produced”: </a:t>
            </a:r>
            <a:endParaRPr lang="en-US" sz="3200" u="sng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7232" y="5293540"/>
            <a:ext cx="1572398" cy="1572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3587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68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>
                <a:latin typeface="Calibri" panose="020F0502020204030204" pitchFamily="34" charset="0"/>
              </a:rPr>
              <a:t>Segregability &amp; Source of Funds Determinations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The determination of the source of funds to develop computer software should be made at any the </a:t>
            </a:r>
            <a:r>
              <a:rPr lang="en-US" sz="2800" b="1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lowest </a:t>
            </a:r>
            <a:r>
              <a:rPr lang="en-US" sz="2800" b="1" u="sng" dirty="0" smtClean="0">
                <a:latin typeface="Calibri" panose="020F0502020204030204" pitchFamily="34" charset="0"/>
              </a:rPr>
              <a:t>practicable segregable portion</a:t>
            </a:r>
            <a:r>
              <a:rPr lang="en-US" sz="2800" dirty="0" smtClean="0">
                <a:latin typeface="Calibri" panose="020F0502020204030204" pitchFamily="34" charset="0"/>
              </a:rPr>
              <a:t> of the software or documentation </a:t>
            </a:r>
          </a:p>
          <a:p>
            <a:pPr marL="1104900" lvl="3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i="1" dirty="0" smtClean="0">
                <a:latin typeface="Calibri" panose="020F0502020204030204" pitchFamily="34" charset="0"/>
              </a:rPr>
              <a:t>E.g.</a:t>
            </a:r>
            <a:r>
              <a:rPr lang="en-US" sz="2800" dirty="0" smtClean="0">
                <a:latin typeface="Calibri" panose="020F0502020204030204" pitchFamily="34" charset="0"/>
              </a:rPr>
              <a:t>, a software </a:t>
            </a:r>
            <a:r>
              <a:rPr lang="en-US" sz="2800" b="1" u="sng" dirty="0" smtClean="0">
                <a:latin typeface="Calibri" panose="020F0502020204030204" pitchFamily="34" charset="0"/>
              </a:rPr>
              <a:t>sub-routine</a:t>
            </a:r>
            <a:r>
              <a:rPr lang="en-US" sz="2800" dirty="0" smtClean="0">
                <a:latin typeface="Calibri" panose="020F0502020204030204" pitchFamily="34" charset="0"/>
              </a:rPr>
              <a:t> that </a:t>
            </a:r>
            <a:r>
              <a:rPr lang="en-US" sz="2800" b="1" u="sng" dirty="0" smtClean="0">
                <a:latin typeface="Calibri" panose="020F0502020204030204" pitchFamily="34" charset="0"/>
              </a:rPr>
              <a:t>performs a specific function</a:t>
            </a:r>
            <a:r>
              <a:rPr lang="en-US" sz="2800" dirty="0" smtClean="0">
                <a:latin typeface="Calibri" panose="020F0502020204030204" pitchFamily="34" charset="0"/>
              </a:rPr>
              <a:t>.  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Contractors may assert restricted rights in a </a:t>
            </a:r>
            <a:r>
              <a:rPr lang="en-US" sz="2800" b="1" u="sng" dirty="0" smtClean="0">
                <a:latin typeface="Calibri" panose="020F0502020204030204" pitchFamily="34" charset="0"/>
              </a:rPr>
              <a:t>segregable portion of computer software which </a:t>
            </a:r>
            <a:r>
              <a:rPr lang="en-US" sz="2800" b="1" dirty="0" smtClean="0">
                <a:latin typeface="Calibri" panose="020F0502020204030204" pitchFamily="34" charset="0"/>
              </a:rPr>
              <a:t>otherwise qualifies for restricted rights.</a:t>
            </a:r>
          </a:p>
          <a:p>
            <a:pPr marL="1104900" lvl="3" indent="-285750">
              <a:spcBef>
                <a:spcPts val="0"/>
              </a:spcBef>
              <a:spcAft>
                <a:spcPts val="2400"/>
              </a:spcAft>
            </a:pPr>
            <a:endParaRPr lang="en-US" sz="2400" dirty="0" smtClean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705235" y="19695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>
                <a:latin typeface="Calibri" panose="020F0502020204030204" pitchFamily="34" charset="0"/>
              </a:rPr>
              <a:t>Documenting Development Activities </a:t>
            </a:r>
            <a:r>
              <a:rPr lang="en-US" sz="3200" dirty="0">
                <a:latin typeface="Calibri" panose="020F0502020204030204" pitchFamily="34" charset="0"/>
              </a:rPr>
              <a:t/>
            </a:r>
            <a:br>
              <a:rPr lang="en-US" sz="3200" dirty="0">
                <a:latin typeface="Calibri" panose="020F0502020204030204" pitchFamily="34" charset="0"/>
              </a:rPr>
            </a:br>
            <a:r>
              <a:rPr lang="en-US" sz="32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Segregability of C</a:t>
            </a:r>
            <a:r>
              <a:rPr lang="en-US" sz="32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omputer </a:t>
            </a:r>
            <a:r>
              <a:rPr lang="en-US" sz="3200" dirty="0">
                <a:solidFill>
                  <a:srgbClr val="FF0000"/>
                </a:solidFill>
                <a:latin typeface="Calibri" panose="020F0502020204030204" pitchFamily="34" charset="0"/>
              </a:rPr>
              <a:t>Software</a:t>
            </a:r>
            <a:endParaRPr lang="en-US" sz="3200" u="sng" dirty="0">
              <a:latin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1742" y="24714"/>
            <a:ext cx="1602258" cy="1184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4410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69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561975" lvl="1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dirty="0" smtClean="0"/>
              <a:t>When </a:t>
            </a:r>
            <a:r>
              <a:rPr lang="en-US" sz="2400" b="1" dirty="0" smtClean="0"/>
              <a:t>is </a:t>
            </a:r>
            <a:r>
              <a:rPr lang="en-US" sz="2400" b="1" u="sng" dirty="0" smtClean="0"/>
              <a:t>Computer Software</a:t>
            </a:r>
            <a:r>
              <a:rPr lang="en-US" sz="2400" b="1" dirty="0" smtClean="0"/>
              <a:t> “Developed”?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dirty="0" smtClean="0"/>
              <a:t>A </a:t>
            </a:r>
            <a:r>
              <a:rPr lang="en-US" sz="2400" b="1" dirty="0" smtClean="0"/>
              <a:t>computer </a:t>
            </a:r>
            <a:r>
              <a:rPr lang="en-US" sz="2400" b="1" u="sng" dirty="0" smtClean="0"/>
              <a:t>software</a:t>
            </a:r>
            <a:r>
              <a:rPr lang="en-US" sz="2400" dirty="0" smtClean="0"/>
              <a:t> has been </a:t>
            </a:r>
            <a:r>
              <a:rPr lang="en-US" sz="2400" b="1" u="sng" dirty="0" smtClean="0"/>
              <a:t>successfully tested or analyzed</a:t>
            </a:r>
            <a:r>
              <a:rPr lang="en-US" sz="2400" dirty="0" smtClean="0"/>
              <a:t> to the extent sufficient to demonstrate to reasonable persons skilled in the art that the software can reasonably be </a:t>
            </a:r>
            <a:r>
              <a:rPr lang="en-US" sz="2400" b="1" u="sng" dirty="0" smtClean="0"/>
              <a:t>expected to perform its intended purpose</a:t>
            </a:r>
            <a:r>
              <a:rPr lang="en-US" sz="2400" dirty="0" smtClean="0"/>
              <a:t>; or</a:t>
            </a:r>
          </a:p>
          <a:p>
            <a:pPr marL="828675" lvl="2" indent="-285750">
              <a:spcBef>
                <a:spcPts val="0"/>
              </a:spcBef>
              <a:spcAft>
                <a:spcPts val="2400"/>
              </a:spcAft>
            </a:pPr>
            <a:r>
              <a:rPr lang="en-US" sz="2400" b="1" dirty="0" smtClean="0"/>
              <a:t>Computer software </a:t>
            </a:r>
            <a:r>
              <a:rPr lang="en-US" sz="2400" b="1" u="sng" dirty="0" smtClean="0"/>
              <a:t>documentation</a:t>
            </a:r>
            <a:r>
              <a:rPr lang="en-US" sz="2400" b="1" dirty="0" smtClean="0"/>
              <a:t> required to be delivered </a:t>
            </a:r>
            <a:r>
              <a:rPr lang="en-US" sz="2400" b="1" u="sng" dirty="0" smtClean="0"/>
              <a:t>under a contract</a:t>
            </a:r>
            <a:r>
              <a:rPr lang="en-US" sz="2400" dirty="0" smtClean="0"/>
              <a:t> has been written, in any medium, in sufficient detail to comply with requirements under that contract.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749739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When is </a:t>
            </a:r>
            <a:r>
              <a:rPr lang="en-US" dirty="0" smtClean="0">
                <a:latin typeface="Calibri" panose="020F0502020204030204" pitchFamily="34" charset="0"/>
              </a:rPr>
              <a:t>Computer Software </a:t>
            </a:r>
            <a:r>
              <a:rPr lang="en-US" dirty="0">
                <a:latin typeface="Calibri" panose="020F0502020204030204" pitchFamily="34" charset="0"/>
              </a:rPr>
              <a:t>“Developed” or “Produced</a:t>
            </a:r>
            <a:r>
              <a:rPr lang="en-US" dirty="0" smtClean="0">
                <a:latin typeface="Calibri" panose="020F0502020204030204" pitchFamily="34" charset="0"/>
              </a:rPr>
              <a:t>”?</a:t>
            </a:r>
            <a:endParaRPr lang="en-US" u="sng" dirty="0">
              <a:latin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8822" y="5050825"/>
            <a:ext cx="1807175" cy="180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2551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FEDERAL POLICY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b="1" dirty="0" smtClean="0">
                <a:latin typeface="Calibri" panose="020F0502020204030204" pitchFamily="34" charset="0"/>
              </a:rPr>
              <a:t>Bayh-Dole Act (35 USC §§ 200-12)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 smtClean="0">
                <a:latin typeface="Calibri" panose="020F0502020204030204" pitchFamily="34" charset="0"/>
              </a:rPr>
              <a:t>Use patent system</a:t>
            </a:r>
            <a:r>
              <a:rPr lang="en-US" sz="2600" dirty="0" smtClean="0">
                <a:latin typeface="Calibri" panose="020F0502020204030204" pitchFamily="34" charset="0"/>
              </a:rPr>
              <a:t> to promote utilization of inventions arising from federally supported R&amp;D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dirty="0" smtClean="0">
                <a:latin typeface="Calibri" panose="020F0502020204030204" pitchFamily="34" charset="0"/>
              </a:rPr>
              <a:t>Encourage maximum participation of </a:t>
            </a:r>
            <a:r>
              <a:rPr lang="en-US" sz="2600" b="1" u="sng" dirty="0" smtClean="0">
                <a:latin typeface="Calibri" panose="020F0502020204030204" pitchFamily="34" charset="0"/>
              </a:rPr>
              <a:t>small businesse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 smtClean="0">
                <a:latin typeface="Calibri" panose="020F0502020204030204" pitchFamily="34" charset="0"/>
              </a:rPr>
              <a:t>Promote collaboration</a:t>
            </a:r>
            <a:r>
              <a:rPr lang="en-US" sz="2600" dirty="0" smtClean="0">
                <a:latin typeface="Calibri" panose="020F0502020204030204" pitchFamily="34" charset="0"/>
              </a:rPr>
              <a:t> between commercial concerns and nonprofit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 smtClean="0">
                <a:latin typeface="Calibri" panose="020F0502020204030204" pitchFamily="34" charset="0"/>
              </a:rPr>
              <a:t>Promote commercialization</a:t>
            </a:r>
            <a:r>
              <a:rPr lang="en-US" sz="2600" dirty="0" smtClean="0">
                <a:latin typeface="Calibri" panose="020F0502020204030204" pitchFamily="34" charset="0"/>
              </a:rPr>
              <a:t> and public availability of inventions made in the U.S.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 smtClean="0">
                <a:latin typeface="Calibri" panose="020F0502020204030204" pitchFamily="34" charset="0"/>
              </a:rPr>
              <a:t>Ensure Government obtains sufficient rights</a:t>
            </a:r>
            <a:r>
              <a:rPr lang="en-US" sz="2600" dirty="0" smtClean="0">
                <a:latin typeface="Calibri" panose="020F0502020204030204" pitchFamily="34" charset="0"/>
              </a:rPr>
              <a:t> in Federally supported inventions to meet Government needs</a:t>
            </a:r>
            <a:endParaRPr lang="en-US" sz="26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19830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70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7820743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400" b="1" u="sng" dirty="0" smtClean="0"/>
              <a:t>Source of Funds Determinations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400" b="1" dirty="0" smtClean="0"/>
              <a:t>Private Expense</a:t>
            </a:r>
            <a:r>
              <a:rPr lang="en-US" sz="2400" dirty="0" smtClean="0"/>
              <a:t>: Development was accomplished “entirely with costs </a:t>
            </a:r>
            <a:r>
              <a:rPr lang="en-US" sz="2400" b="1" dirty="0" smtClean="0"/>
              <a:t>charged to </a:t>
            </a:r>
            <a:r>
              <a:rPr lang="en-US" sz="2400" b="1" u="sng" dirty="0" smtClean="0">
                <a:solidFill>
                  <a:srgbClr val="FF0000"/>
                </a:solidFill>
              </a:rPr>
              <a:t>indirect cost pools</a:t>
            </a:r>
            <a:r>
              <a:rPr lang="en-US" sz="2400" dirty="0" smtClean="0"/>
              <a:t>, </a:t>
            </a:r>
            <a:r>
              <a:rPr lang="en-US" sz="2400" b="1" u="sng" dirty="0" smtClean="0">
                <a:solidFill>
                  <a:srgbClr val="FF0000"/>
                </a:solidFill>
              </a:rPr>
              <a:t>costs not allocated to a government contract</a:t>
            </a:r>
            <a:r>
              <a:rPr lang="en-US" sz="2400" dirty="0" smtClean="0"/>
              <a:t>, or any combination thereof.”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400" b="1" dirty="0" smtClean="0"/>
              <a:t>Mixed Funding</a:t>
            </a:r>
            <a:r>
              <a:rPr lang="en-US" sz="2400" dirty="0" smtClean="0"/>
              <a:t>:  Development was accomplished “partially with costs charged to </a:t>
            </a:r>
            <a:r>
              <a:rPr lang="en-US" sz="2400" dirty="0" smtClean="0">
                <a:solidFill>
                  <a:srgbClr val="FF0000"/>
                </a:solidFill>
              </a:rPr>
              <a:t>indirect cost pools and/or costs not allocated to a government contract</a:t>
            </a:r>
            <a:r>
              <a:rPr lang="en-US" sz="2400" dirty="0" smtClean="0"/>
              <a:t>, and partially with costs charged directly to a government contract.”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400" b="1" dirty="0" smtClean="0"/>
              <a:t>Government Expense</a:t>
            </a:r>
            <a:r>
              <a:rPr lang="en-US" sz="2400" dirty="0" smtClean="0"/>
              <a:t>:  Development “was not accomplished exclusively or partially at private expense”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>
                <a:latin typeface="Calibri" panose="020F0502020204030204" pitchFamily="34" charset="0"/>
              </a:rPr>
              <a:t>Rights Allocation: Source of Funds Test</a:t>
            </a:r>
            <a:endParaRPr lang="en-US" sz="4000" u="sng" dirty="0">
              <a:latin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7273" y="2100648"/>
            <a:ext cx="1986727" cy="1272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7224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Records Keeping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9492" y="1149178"/>
            <a:ext cx="8575589" cy="4929693"/>
          </a:xfrm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What is the segregable sub-process, sub-component, or sub-routine?</a:t>
            </a:r>
            <a:endParaRPr lang="en-US" sz="2800" b="1" dirty="0" smtClean="0">
              <a:latin typeface="Calibri" panose="020F0502020204030204" pitchFamily="34" charset="0"/>
            </a:endParaRP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When did it “</a:t>
            </a:r>
            <a:r>
              <a:rPr lang="en-US" sz="2800" b="1" i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exist and become workable</a:t>
            </a:r>
            <a:r>
              <a:rPr lang="en-US" sz="2800" b="1" dirty="0" smtClean="0">
                <a:latin typeface="Calibri" panose="020F0502020204030204" pitchFamily="34" charset="0"/>
              </a:rPr>
              <a:t>” or become “</a:t>
            </a:r>
            <a:r>
              <a:rPr lang="en-US" sz="2800" b="1" i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tested and analyzed to perform intended function</a:t>
            </a:r>
            <a:r>
              <a:rPr lang="en-US" sz="2800" b="1" dirty="0" smtClean="0">
                <a:latin typeface="Calibri" panose="020F0502020204030204" pitchFamily="34" charset="0"/>
              </a:rPr>
              <a:t>”</a:t>
            </a: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endParaRPr lang="en-US" sz="2800" b="1" dirty="0" smtClean="0">
              <a:latin typeface="Calibri" panose="020F0502020204030204" pitchFamily="34" charset="0"/>
            </a:endParaRP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Time-keeping records for development work charged to indirect account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71</a:t>
            </a:fld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8604395"/>
              </p:ext>
            </p:extLst>
          </p:nvPr>
        </p:nvGraphicFramePr>
        <p:xfrm>
          <a:off x="457200" y="4937760"/>
          <a:ext cx="8127999" cy="1920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81665"/>
                <a:gridCol w="2723635"/>
                <a:gridCol w="3822699"/>
              </a:tblGrid>
              <a:tr h="767092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latin typeface="Calibri" panose="020F0502020204030204" pitchFamily="34" charset="0"/>
                        </a:rPr>
                        <a:t>Sub-Process</a:t>
                      </a:r>
                      <a:endParaRPr lang="en-US" sz="24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latin typeface="Calibri" panose="020F0502020204030204" pitchFamily="34" charset="0"/>
                        </a:rPr>
                        <a:t>“Developed” Milestone Date</a:t>
                      </a:r>
                      <a:endParaRPr lang="en-US" sz="24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latin typeface="Calibri" panose="020F0502020204030204" pitchFamily="34" charset="0"/>
                        </a:rPr>
                        <a:t>Development Cost</a:t>
                      </a:r>
                      <a:r>
                        <a:rPr lang="en-US" sz="2400" b="1" baseline="0" dirty="0" smtClean="0">
                          <a:latin typeface="Calibri" panose="020F0502020204030204" pitchFamily="34" charset="0"/>
                        </a:rPr>
                        <a:t> Records and Funding Source</a:t>
                      </a:r>
                      <a:endParaRPr lang="en-US" sz="24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34566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4566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45665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3249827"/>
            <a:ext cx="9144000" cy="729050"/>
          </a:xfrm>
          <a:prstGeom prst="rect">
            <a:avLst/>
          </a:prstGeom>
          <a:solidFill>
            <a:schemeClr val="bg1"/>
          </a:solidFill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u="sng" dirty="0" smtClean="0">
                <a:solidFill>
                  <a:srgbClr val="FF0000"/>
                </a:solidFill>
                <a:latin typeface="Calibri" panose="020F0502020204030204" pitchFamily="34" charset="0"/>
              </a:rPr>
              <a:t>Milestone Development Plan Can Help</a:t>
            </a:r>
            <a:r>
              <a:rPr lang="en-US" sz="2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:  Set forth Testing and Analysis that will Determine Workability and Functionality; Follow the Plan</a:t>
            </a:r>
            <a:endParaRPr lang="en-US" sz="24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59308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Value of Record Keeping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104570"/>
            <a:ext cx="8826500" cy="4974302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endParaRPr lang="en-US" sz="2800" b="1" dirty="0" smtClean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72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/>
          </p:nvPr>
        </p:nvGraphicFramePr>
        <p:xfrm>
          <a:off x="1663700" y="2209797"/>
          <a:ext cx="7315200" cy="46482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/>
          <p:cNvSpPr/>
          <p:nvPr/>
        </p:nvSpPr>
        <p:spPr>
          <a:xfrm>
            <a:off x="-12700" y="1574465"/>
            <a:ext cx="9144000" cy="648359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Contractor’s Rights in Tech. Data </a:t>
            </a:r>
            <a:r>
              <a:rPr lang="en-US" sz="2400" b="1" u="sng" dirty="0" smtClean="0"/>
              <a:t>Without</a:t>
            </a:r>
            <a:r>
              <a:rPr lang="en-US" sz="2400" b="1" dirty="0" smtClean="0"/>
              <a:t> </a:t>
            </a:r>
            <a:r>
              <a:rPr lang="en-US" sz="2400" b="1" dirty="0" smtClean="0"/>
              <a:t>Adequate Records</a:t>
            </a:r>
            <a:endParaRPr lang="en-US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0" y="2222824"/>
            <a:ext cx="1574800" cy="46351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o segregation and record of development at private expense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=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Government Unlimited Rights in</a:t>
            </a:r>
          </a:p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Everything</a:t>
            </a:r>
            <a:endParaRPr lang="en-US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45329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>
                <a:latin typeface="Calibri" panose="020F0502020204030204" pitchFamily="34" charset="0"/>
              </a:rPr>
              <a:t>Value of Record Keeping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104570"/>
            <a:ext cx="8826500" cy="4974302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73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/>
          </p:nvPr>
        </p:nvGraphicFramePr>
        <p:xfrm>
          <a:off x="1663700" y="2209797"/>
          <a:ext cx="7315200" cy="46482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/>
          <p:cNvSpPr/>
          <p:nvPr/>
        </p:nvSpPr>
        <p:spPr>
          <a:xfrm>
            <a:off x="-12700" y="1574465"/>
            <a:ext cx="9144000" cy="648359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Contractor’s Rights in Tech. Data </a:t>
            </a:r>
            <a:r>
              <a:rPr lang="en-US" sz="2400" b="1" u="sng" dirty="0" smtClean="0"/>
              <a:t>With</a:t>
            </a:r>
            <a:r>
              <a:rPr lang="en-US" sz="2400" b="1" dirty="0" smtClean="0"/>
              <a:t> </a:t>
            </a:r>
            <a:r>
              <a:rPr lang="en-US" sz="2400" b="1" dirty="0" smtClean="0"/>
              <a:t>Adequate Records</a:t>
            </a:r>
            <a:endParaRPr lang="en-US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0" y="2222824"/>
            <a:ext cx="1574800" cy="4635176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ith segregation and record of development at private expense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=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Contractor has </a:t>
            </a:r>
            <a:r>
              <a:rPr lang="en-US" b="1" u="sng" dirty="0" smtClean="0">
                <a:solidFill>
                  <a:schemeClr val="tx1"/>
                </a:solidFill>
              </a:rPr>
              <a:t>Enhanced Rights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In Sub-Element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58826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>
                <a:latin typeface="Calibri" panose="020F0502020204030204" pitchFamily="34" charset="0"/>
              </a:rPr>
              <a:t>Value of Record Keeping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9400" y="1143000"/>
            <a:ext cx="8763000" cy="4935871"/>
          </a:xfrm>
        </p:spPr>
        <p:txBody>
          <a:bodyPr/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74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2143125" y="2108200"/>
          <a:ext cx="7648575" cy="4749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ectangle 8"/>
          <p:cNvSpPr/>
          <p:nvPr/>
        </p:nvSpPr>
        <p:spPr>
          <a:xfrm>
            <a:off x="-12700" y="1574465"/>
            <a:ext cx="9144000" cy="648359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Contractor’s Rights in Software </a:t>
            </a:r>
            <a:r>
              <a:rPr lang="en-US" sz="2400" b="1" u="sng" dirty="0" smtClean="0"/>
              <a:t>Without</a:t>
            </a:r>
            <a:r>
              <a:rPr lang="en-US" sz="2400" b="1" dirty="0" smtClean="0"/>
              <a:t> </a:t>
            </a:r>
            <a:r>
              <a:rPr lang="en-US" sz="2400" b="1" dirty="0" smtClean="0"/>
              <a:t>Adequate Records</a:t>
            </a:r>
            <a:endParaRPr lang="en-US" sz="2400" b="1" dirty="0"/>
          </a:p>
        </p:txBody>
      </p:sp>
      <p:sp>
        <p:nvSpPr>
          <p:cNvPr id="10" name="Rectangle 9"/>
          <p:cNvSpPr/>
          <p:nvPr/>
        </p:nvSpPr>
        <p:spPr>
          <a:xfrm>
            <a:off x="0" y="2222824"/>
            <a:ext cx="1574800" cy="46351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o segregation and record of development at private expense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=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Government Unlimited Rights in</a:t>
            </a:r>
          </a:p>
          <a:p>
            <a:pPr algn="ctr"/>
            <a:r>
              <a:rPr lang="en-US" b="1" u="sng" dirty="0" smtClean="0">
                <a:solidFill>
                  <a:schemeClr val="tx1"/>
                </a:solidFill>
              </a:rPr>
              <a:t>Everything</a:t>
            </a:r>
            <a:endParaRPr lang="en-US" b="1" u="sng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54200" y="2222824"/>
            <a:ext cx="2247900" cy="1485900"/>
          </a:xfrm>
          <a:prstGeom prst="rect">
            <a:avLst/>
          </a:prstGeom>
          <a:ln w="508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FFF00"/>
                </a:solidFill>
                <a:latin typeface="Calibri" panose="020F0502020204030204" pitchFamily="34" charset="0"/>
              </a:rPr>
              <a:t>Versions as Software Functions are Added or is Enhanced</a:t>
            </a:r>
            <a:endParaRPr lang="en-US" sz="2000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329336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>
                <a:latin typeface="Calibri" panose="020F0502020204030204" pitchFamily="34" charset="0"/>
              </a:rPr>
              <a:t>Value of Record Keeping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104570"/>
            <a:ext cx="8826500" cy="4974302"/>
          </a:xfrm>
        </p:spPr>
        <p:txBody>
          <a:bodyPr/>
          <a:lstStyle/>
          <a:p>
            <a:pPr>
              <a:spcAft>
                <a:spcPts val="1200"/>
              </a:spcAft>
            </a:pPr>
            <a:endParaRPr lang="en-US" sz="2800" b="1" dirty="0">
              <a:latin typeface="Calibri" panose="020F0502020204030204" pitchFamily="34" charset="0"/>
            </a:endParaRPr>
          </a:p>
          <a:p>
            <a:pPr>
              <a:spcAft>
                <a:spcPts val="12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75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-12700" y="1574465"/>
            <a:ext cx="9144000" cy="648359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Contractor’s Rights in Software </a:t>
            </a:r>
            <a:r>
              <a:rPr lang="en-US" sz="2400" b="1" u="sng" dirty="0" smtClean="0"/>
              <a:t>With</a:t>
            </a:r>
            <a:r>
              <a:rPr lang="en-US" sz="2400" b="1" dirty="0" smtClean="0"/>
              <a:t> </a:t>
            </a:r>
            <a:r>
              <a:rPr lang="en-US" sz="2400" b="1" dirty="0" smtClean="0"/>
              <a:t>Adequate Records</a:t>
            </a:r>
            <a:endParaRPr lang="en-US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0" y="2222824"/>
            <a:ext cx="1574800" cy="4635176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With segregation and record of development at private expense 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=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b="1" dirty="0" smtClean="0">
                <a:solidFill>
                  <a:schemeClr val="tx1"/>
                </a:solidFill>
              </a:rPr>
              <a:t>Contractor has </a:t>
            </a:r>
            <a:r>
              <a:rPr lang="en-US" b="1" u="sng" dirty="0" smtClean="0">
                <a:solidFill>
                  <a:schemeClr val="tx1"/>
                </a:solidFill>
              </a:rPr>
              <a:t>Enhanced Rights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In Modifications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12" name="Diagram 11"/>
          <p:cNvGraphicFramePr/>
          <p:nvPr>
            <p:extLst/>
          </p:nvPr>
        </p:nvGraphicFramePr>
        <p:xfrm>
          <a:off x="2143125" y="2108200"/>
          <a:ext cx="7648575" cy="4749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Rectangle 12"/>
          <p:cNvSpPr/>
          <p:nvPr/>
        </p:nvSpPr>
        <p:spPr>
          <a:xfrm>
            <a:off x="1854200" y="2222824"/>
            <a:ext cx="2247900" cy="1485900"/>
          </a:xfrm>
          <a:prstGeom prst="rect">
            <a:avLst/>
          </a:prstGeom>
          <a:ln w="508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FFF00"/>
                </a:solidFill>
                <a:latin typeface="Calibri" panose="020F0502020204030204" pitchFamily="34" charset="0"/>
              </a:rPr>
              <a:t>Versions as Software Functions are Added or is Enhanced</a:t>
            </a:r>
            <a:endParaRPr lang="en-US" sz="2000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40288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76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4778" y="1164920"/>
            <a:ext cx="8229600" cy="5109945"/>
          </a:xfrm>
        </p:spPr>
        <p:txBody>
          <a:bodyPr/>
          <a:lstStyle/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Considerations for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Data Rights Assertions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In Proposals</a:t>
            </a:r>
          </a:p>
        </p:txBody>
      </p:sp>
    </p:spTree>
    <p:extLst>
      <p:ext uri="{BB962C8B-B14F-4D97-AF65-F5344CB8AC3E}">
        <p14:creationId xmlns:p14="http://schemas.microsoft.com/office/powerpoint/2010/main" val="3736021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77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3" y="1123958"/>
            <a:ext cx="637398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4000" b="1" dirty="0" smtClean="0">
                <a:latin typeface="Calibri" panose="020F0502020204030204" pitchFamily="34" charset="0"/>
              </a:rPr>
              <a:t>Why It Matters</a:t>
            </a:r>
            <a:endParaRPr lang="en-US" sz="4000" b="1" dirty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Civilian Agencies</a:t>
            </a:r>
            <a:r>
              <a:rPr lang="en-US" sz="2800" dirty="0" smtClean="0">
                <a:latin typeface="Calibri" panose="020F0502020204030204" pitchFamily="34" charset="0"/>
              </a:rPr>
              <a:t>: Contractor </a:t>
            </a:r>
            <a:r>
              <a:rPr lang="en-US" sz="2800" b="1" u="sng" dirty="0" smtClean="0">
                <a:latin typeface="Calibri" panose="020F0502020204030204" pitchFamily="34" charset="0"/>
              </a:rPr>
              <a:t>must not</a:t>
            </a:r>
            <a:r>
              <a:rPr lang="en-US" sz="2800" dirty="0" smtClean="0">
                <a:latin typeface="Calibri" panose="020F0502020204030204" pitchFamily="34" charset="0"/>
              </a:rPr>
              <a:t> deliver data </a:t>
            </a:r>
            <a:r>
              <a:rPr lang="en-US" sz="2800" b="1" u="sng" dirty="0" smtClean="0">
                <a:latin typeface="Calibri" panose="020F0502020204030204" pitchFamily="34" charset="0"/>
              </a:rPr>
              <a:t>not first produced</a:t>
            </a:r>
            <a:r>
              <a:rPr lang="en-US" sz="2800" dirty="0" smtClean="0">
                <a:latin typeface="Calibri" panose="020F0502020204030204" pitchFamily="34" charset="0"/>
              </a:rPr>
              <a:t> in performance of contract (i.e., </a:t>
            </a:r>
            <a:r>
              <a:rPr lang="en-US" sz="2800" dirty="0" smtClean="0">
                <a:latin typeface="Calibri" panose="020F0502020204030204" pitchFamily="34" charset="0"/>
              </a:rPr>
              <a:t>Unlimited Rights) “without the prior permission of the Contracting Officer”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ontractor should Identify “Limited Rights Data” and “Restricted Computer Software” </a:t>
            </a:r>
            <a:r>
              <a:rPr lang="en-US" sz="2800" b="1" u="sng" dirty="0" smtClean="0">
                <a:latin typeface="Calibri" panose="020F0502020204030204" pitchFamily="34" charset="0"/>
              </a:rPr>
              <a:t>in proposal</a:t>
            </a:r>
            <a:r>
              <a:rPr lang="en-US" sz="2800" dirty="0" smtClean="0">
                <a:latin typeface="Calibri" panose="020F0502020204030204" pitchFamily="34" charset="0"/>
              </a:rPr>
              <a:t> to secure CO permission at time of award.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Data Rights Assertions in Proposals</a:t>
            </a:r>
            <a:endParaRPr lang="en-US" sz="4000" dirty="0">
              <a:latin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1382667"/>
            <a:ext cx="2438400" cy="19415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1977" y="4170844"/>
            <a:ext cx="2442023" cy="256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9025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78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6633477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4000" b="1" dirty="0" smtClean="0">
                <a:latin typeface="Calibri" panose="020F0502020204030204" pitchFamily="34" charset="0"/>
              </a:rPr>
              <a:t>Why It Matters</a:t>
            </a:r>
            <a:endParaRPr lang="en-US" sz="4000" b="1" dirty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DoD</a:t>
            </a:r>
            <a:r>
              <a:rPr lang="en-US" sz="2800" dirty="0" smtClean="0">
                <a:latin typeface="Calibri" panose="020F0502020204030204" pitchFamily="34" charset="0"/>
              </a:rPr>
              <a:t>: Offerors must identify, </a:t>
            </a:r>
            <a:r>
              <a:rPr lang="en-US" sz="2800" i="1" dirty="0" smtClean="0">
                <a:latin typeface="Calibri" panose="020F0502020204030204" pitchFamily="34" charset="0"/>
              </a:rPr>
              <a:t>to the </a:t>
            </a:r>
            <a:r>
              <a:rPr lang="en-US" sz="2800" b="1" i="1" dirty="0" smtClean="0">
                <a:latin typeface="Calibri" panose="020F0502020204030204" pitchFamily="34" charset="0"/>
              </a:rPr>
              <a:t>extent known</a:t>
            </a:r>
            <a:r>
              <a:rPr lang="en-US" sz="2800" i="1" dirty="0" smtClean="0">
                <a:latin typeface="Calibri" panose="020F0502020204030204" pitchFamily="34" charset="0"/>
              </a:rPr>
              <a:t> at the time of offer</a:t>
            </a:r>
            <a:r>
              <a:rPr lang="en-US" sz="2800" dirty="0" smtClean="0">
                <a:latin typeface="Calibri" panose="020F0502020204030204" pitchFamily="34" charset="0"/>
              </a:rPr>
              <a:t>, data/software to be delivered </a:t>
            </a:r>
            <a:r>
              <a:rPr lang="en-US" sz="2800" b="1" u="sng" dirty="0" smtClean="0">
                <a:latin typeface="Calibri" panose="020F0502020204030204" pitchFamily="34" charset="0"/>
              </a:rPr>
              <a:t>with “other than unlimited rights”</a:t>
            </a: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Data Rights Assertions in Proposals</a:t>
            </a:r>
            <a:endParaRPr lang="en-US" sz="4000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231" y="1493780"/>
            <a:ext cx="2658699" cy="206787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746163"/>
            <a:ext cx="9144000" cy="1853342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5857797"/>
            <a:ext cx="910593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en-US" sz="2400" dirty="0">
                <a:latin typeface="Calibri" panose="020F0502020204030204" pitchFamily="34" charset="0"/>
              </a:rPr>
              <a:t>“Generally, </a:t>
            </a:r>
            <a:r>
              <a:rPr lang="en-US" sz="2400" b="1" dirty="0">
                <a:solidFill>
                  <a:srgbClr val="FFFF00"/>
                </a:solidFill>
                <a:latin typeface="Calibri" panose="020F0502020204030204" pitchFamily="34" charset="0"/>
              </a:rPr>
              <a:t>development at private expense</a:t>
            </a:r>
            <a:r>
              <a:rPr lang="en-US" sz="2400" dirty="0">
                <a:latin typeface="Calibri" panose="020F0502020204030204" pitchFamily="34" charset="0"/>
              </a:rPr>
              <a:t>, either exclusively or partially,  is the only basis for asserting restrictions.”</a:t>
            </a:r>
            <a:endParaRPr lang="en-US" sz="2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7875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79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Data Rights Assertion Procedure for Each Proposal</a:t>
            </a:r>
          </a:p>
          <a:p>
            <a:pPr marL="568325" lvl="1" indent="-29210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3200" b="1" u="sng" dirty="0" smtClean="0">
                <a:latin typeface="Calibri" panose="020F0502020204030204" pitchFamily="34" charset="0"/>
              </a:rPr>
              <a:t>Make list</a:t>
            </a:r>
            <a:r>
              <a:rPr lang="en-US" sz="3200" b="1" dirty="0" smtClean="0">
                <a:latin typeface="Calibri" panose="020F0502020204030204" pitchFamily="34" charset="0"/>
              </a:rPr>
              <a:t> of </a:t>
            </a:r>
            <a:r>
              <a:rPr lang="en-US" sz="3200" b="1" u="sng" dirty="0" smtClean="0">
                <a:latin typeface="Calibri" panose="020F0502020204030204" pitchFamily="34" charset="0"/>
              </a:rPr>
              <a:t>all</a:t>
            </a:r>
            <a:r>
              <a:rPr lang="en-US" sz="3200" b="1" dirty="0" smtClean="0">
                <a:latin typeface="Calibri" panose="020F0502020204030204" pitchFamily="34" charset="0"/>
              </a:rPr>
              <a:t> technical data and software that might be </a:t>
            </a:r>
            <a:r>
              <a:rPr lang="en-US" sz="3200" b="1" u="sng" dirty="0" smtClean="0">
                <a:latin typeface="Calibri" panose="020F0502020204030204" pitchFamily="34" charset="0"/>
              </a:rPr>
              <a:t>used</a:t>
            </a:r>
            <a:r>
              <a:rPr lang="en-US" sz="3200" b="1" dirty="0" smtClean="0">
                <a:latin typeface="Calibri" panose="020F0502020204030204" pitchFamily="34" charset="0"/>
              </a:rPr>
              <a:t> at the </a:t>
            </a:r>
            <a:r>
              <a:rPr lang="en-US" sz="3200" b="1" i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lowest segregable level</a:t>
            </a:r>
          </a:p>
          <a:p>
            <a:pPr marL="568325" lvl="1" indent="-29210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3200" b="1" u="sng" dirty="0" smtClean="0">
                <a:latin typeface="Calibri" panose="020F0502020204030204" pitchFamily="34" charset="0"/>
              </a:rPr>
              <a:t>Make a sublist</a:t>
            </a:r>
            <a:r>
              <a:rPr lang="en-US" sz="3200" b="1" dirty="0" smtClean="0">
                <a:latin typeface="Calibri" panose="020F0502020204030204" pitchFamily="34" charset="0"/>
              </a:rPr>
              <a:t> of the data/software </a:t>
            </a:r>
            <a:r>
              <a:rPr lang="en-US" sz="3200" b="1" i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likely to be delivered</a:t>
            </a:r>
            <a:r>
              <a:rPr lang="en-US" sz="3200" b="1" dirty="0" smtClean="0">
                <a:latin typeface="Calibri" panose="020F0502020204030204" pitchFamily="34" charset="0"/>
              </a:rPr>
              <a:t> under the contract</a:t>
            </a:r>
          </a:p>
          <a:p>
            <a:pPr marL="568325" lvl="1" indent="-29210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3200" b="1" dirty="0" smtClean="0">
                <a:latin typeface="Calibri" panose="020F0502020204030204" pitchFamily="34" charset="0"/>
              </a:rPr>
              <a:t>From this sublist of deliverables, </a:t>
            </a:r>
            <a:r>
              <a:rPr lang="en-US" sz="3200" b="1" u="sng" dirty="0" smtClean="0">
                <a:latin typeface="Calibri" panose="020F0502020204030204" pitchFamily="34" charset="0"/>
              </a:rPr>
              <a:t>make an accurate data rights assertion</a:t>
            </a:r>
            <a:endParaRPr lang="en-US" sz="3200" u="sng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Data Rights Assertions in Proposals</a:t>
            </a:r>
            <a:endParaRPr lang="en-US" sz="4000" dirty="0">
              <a:latin typeface="Calibri" panose="020F050202020403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402587"/>
              </p:ext>
            </p:extLst>
          </p:nvPr>
        </p:nvGraphicFramePr>
        <p:xfrm>
          <a:off x="112295" y="5325762"/>
          <a:ext cx="9031705" cy="1569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32134"/>
                <a:gridCol w="2751848"/>
                <a:gridCol w="4247723"/>
              </a:tblGrid>
              <a:tr h="29668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latin typeface="Calibri" panose="020F0502020204030204" pitchFamily="34" charset="0"/>
                        </a:rPr>
                        <a:t>Sub-Process</a:t>
                      </a:r>
                      <a:endParaRPr lang="en-US" sz="24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latin typeface="Calibri" panose="020F0502020204030204" pitchFamily="34" charset="0"/>
                        </a:rPr>
                        <a:t>Funding Source</a:t>
                      </a:r>
                      <a:endParaRPr lang="en-US" sz="24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latin typeface="Calibri" panose="020F0502020204030204" pitchFamily="34" charset="0"/>
                        </a:rPr>
                        <a:t>Asserted</a:t>
                      </a:r>
                      <a:r>
                        <a:rPr lang="en-US" sz="2400" b="1" baseline="0" dirty="0" smtClean="0">
                          <a:latin typeface="Calibri" panose="020F0502020204030204" pitchFamily="34" charset="0"/>
                        </a:rPr>
                        <a:t> Rights</a:t>
                      </a:r>
                      <a:endParaRPr lang="en-US" sz="24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vate</a:t>
                      </a:r>
                      <a:r>
                        <a:rPr lang="en-US" baseline="0" dirty="0" smtClean="0"/>
                        <a:t> Expense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Limited</a:t>
                      </a:r>
                      <a:r>
                        <a:rPr lang="en-US" baseline="0" dirty="0" smtClean="0"/>
                        <a:t> Rights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ixed Funding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overnment Purpose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overnment Expense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BIR Rights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01962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FEDERAL POLICY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600" b="1" dirty="0" smtClean="0">
                <a:latin typeface="Calibri" panose="020F0502020204030204" pitchFamily="34" charset="0"/>
              </a:rPr>
              <a:t>FAR Part 27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 smtClean="0">
                <a:latin typeface="Calibri" panose="020F0502020204030204" pitchFamily="34" charset="0"/>
              </a:rPr>
              <a:t>Encourage maximum practical commercial use</a:t>
            </a:r>
            <a:r>
              <a:rPr lang="en-US" sz="2600" dirty="0" smtClean="0">
                <a:latin typeface="Calibri" panose="020F0502020204030204" pitchFamily="34" charset="0"/>
              </a:rPr>
              <a:t> of inventions made under Government contract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 smtClean="0">
                <a:latin typeface="Calibri" panose="020F0502020204030204" pitchFamily="34" charset="0"/>
              </a:rPr>
              <a:t>Recognize rights in data developed at private expense</a:t>
            </a:r>
            <a:r>
              <a:rPr lang="en-US" sz="2600" dirty="0" smtClean="0">
                <a:latin typeface="Calibri" panose="020F0502020204030204" pitchFamily="34" charset="0"/>
              </a:rPr>
              <a:t>, and limit demand for delivery of that data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 smtClean="0">
                <a:latin typeface="Calibri" panose="020F0502020204030204" pitchFamily="34" charset="0"/>
              </a:rPr>
              <a:t>Acquire only those rights essential to Government need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 smtClean="0">
                <a:latin typeface="Calibri" panose="020F0502020204030204" pitchFamily="34" charset="0"/>
              </a:rPr>
              <a:t>Ensure appropriate utilization</a:t>
            </a:r>
            <a:r>
              <a:rPr lang="en-US" sz="2600" dirty="0" smtClean="0">
                <a:latin typeface="Calibri" panose="020F0502020204030204" pitchFamily="34" charset="0"/>
              </a:rPr>
              <a:t> of the results of research, development, and demonstration activitie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600" b="1" u="sng" dirty="0" smtClean="0">
                <a:latin typeface="Calibri" panose="020F0502020204030204" pitchFamily="34" charset="0"/>
              </a:rPr>
              <a:t>Protect contractor proprietary data</a:t>
            </a:r>
            <a:r>
              <a:rPr lang="en-US" sz="2600" dirty="0" smtClean="0">
                <a:latin typeface="Calibri" panose="020F0502020204030204" pitchFamily="34" charset="0"/>
              </a:rPr>
              <a:t> from unauthorized use and disclosure</a:t>
            </a:r>
            <a:endParaRPr lang="en-US" sz="26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00579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80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68442" y="1028700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Issues at the Solicitation-Proposal Stage</a:t>
            </a:r>
          </a:p>
          <a:p>
            <a:pPr marL="1057275" lvl="2" indent="-51435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3200" dirty="0" smtClean="0">
                <a:latin typeface="Calibri" panose="020F0502020204030204" pitchFamily="34" charset="0"/>
              </a:rPr>
              <a:t>Focus data rights assertion on </a:t>
            </a:r>
            <a:r>
              <a:rPr lang="en-US" sz="3200" b="1" dirty="0" smtClean="0">
                <a:latin typeface="Calibri" panose="020F0502020204030204" pitchFamily="34" charset="0"/>
              </a:rPr>
              <a:t>CDRLs listed in the Solicitation</a:t>
            </a:r>
          </a:p>
          <a:p>
            <a:pPr marL="1057275" lvl="2" indent="-51435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3200" dirty="0" smtClean="0">
                <a:latin typeface="Calibri" panose="020F0502020204030204" pitchFamily="34" charset="0"/>
              </a:rPr>
              <a:t>Consider proposing what data is inside/outside the scope of the </a:t>
            </a:r>
            <a:r>
              <a:rPr lang="en-US" sz="3200" b="1" dirty="0" smtClean="0">
                <a:latin typeface="Calibri" panose="020F0502020204030204" pitchFamily="34" charset="0"/>
              </a:rPr>
              <a:t>“Deferred Ordering” or “Additional Data Requirements” Clause</a:t>
            </a:r>
            <a:endParaRPr lang="en-US" sz="3200" dirty="0" smtClean="0">
              <a:latin typeface="Calibri" panose="020F0502020204030204" pitchFamily="34" charset="0"/>
            </a:endParaRPr>
          </a:p>
          <a:p>
            <a:pPr marL="1057275" lvl="2" indent="-51435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3200" dirty="0" smtClean="0">
                <a:latin typeface="Calibri" panose="020F0502020204030204" pitchFamily="34" charset="0"/>
              </a:rPr>
              <a:t>List every known deliverable item as </a:t>
            </a:r>
            <a:r>
              <a:rPr lang="en-US" sz="3200" b="1" dirty="0" smtClean="0">
                <a:latin typeface="Calibri" panose="020F0502020204030204" pitchFamily="34" charset="0"/>
              </a:rPr>
              <a:t>specifically as possible</a:t>
            </a:r>
            <a:endParaRPr lang="en-US" sz="3200" dirty="0" smtClean="0">
              <a:latin typeface="Calibri" panose="020F0502020204030204" pitchFamily="34" charset="0"/>
            </a:endParaRPr>
          </a:p>
          <a:p>
            <a:pPr marL="1057275" lvl="2" indent="-514350"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3200" b="1" dirty="0" smtClean="0">
                <a:latin typeface="Calibri" panose="020F0502020204030204" pitchFamily="34" charset="0"/>
              </a:rPr>
              <a:t>Software: </a:t>
            </a:r>
            <a:r>
              <a:rPr lang="en-US" sz="3200" dirty="0" smtClean="0">
                <a:latin typeface="Calibri" panose="020F0502020204030204" pitchFamily="34" charset="0"/>
              </a:rPr>
              <a:t>consider distinction between </a:t>
            </a:r>
            <a:r>
              <a:rPr lang="en-US" sz="3200" b="1" dirty="0" smtClean="0">
                <a:latin typeface="Calibri" panose="020F0502020204030204" pitchFamily="34" charset="0"/>
              </a:rPr>
              <a:t>source code vs.  executable cod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Data Rights Assertions in Proposals</a:t>
            </a:r>
            <a:endParaRPr lang="en-US" sz="4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16824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81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Issues at the Solicitation-Proposal Stage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Gov’t efforts to avoid “Vendor Lock”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400" dirty="0">
                <a:latin typeface="Calibri" panose="020F0502020204030204" pitchFamily="34" charset="0"/>
              </a:rPr>
              <a:t> </a:t>
            </a:r>
            <a:r>
              <a:rPr lang="en-US" sz="2400" dirty="0" smtClean="0">
                <a:latin typeface="Calibri" panose="020F0502020204030204" pitchFamily="34" charset="0"/>
              </a:rPr>
              <a:t>”Information </a:t>
            </a:r>
            <a:r>
              <a:rPr lang="en-US" sz="2400" dirty="0">
                <a:latin typeface="Calibri" panose="020F0502020204030204" pitchFamily="34" charset="0"/>
              </a:rPr>
              <a:t>provided by offerors in response to the solicitation provision may be used in the source selection process </a:t>
            </a:r>
            <a:r>
              <a:rPr lang="en-US" sz="2400" b="1" u="sng" dirty="0">
                <a:latin typeface="Calibri" panose="020F0502020204030204" pitchFamily="34" charset="0"/>
              </a:rPr>
              <a:t>to evaluate the impact</a:t>
            </a:r>
            <a:r>
              <a:rPr lang="en-US" sz="2400" dirty="0">
                <a:latin typeface="Calibri" panose="020F0502020204030204" pitchFamily="34" charset="0"/>
              </a:rPr>
              <a:t> on evaluation factors that may be </a:t>
            </a:r>
            <a:r>
              <a:rPr lang="en-US" sz="2400" b="1" u="sng" dirty="0">
                <a:latin typeface="Calibri" panose="020F0502020204030204" pitchFamily="34" charset="0"/>
              </a:rPr>
              <a:t>created by restrictions on the Government's ability to use or disclose technical data</a:t>
            </a:r>
            <a:r>
              <a:rPr lang="en-US" sz="2400" dirty="0" smtClean="0">
                <a:latin typeface="Calibri" panose="020F0502020204030204" pitchFamily="34" charset="0"/>
              </a:rPr>
              <a:t>.”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000" dirty="0" smtClean="0">
                <a:latin typeface="Calibri" panose="020F0502020204030204" pitchFamily="34" charset="0"/>
              </a:rPr>
              <a:t>“However</a:t>
            </a:r>
            <a:r>
              <a:rPr lang="en-US" sz="2000" dirty="0">
                <a:latin typeface="Calibri" panose="020F0502020204030204" pitchFamily="34" charset="0"/>
              </a:rPr>
              <a:t>, offerors </a:t>
            </a:r>
            <a:r>
              <a:rPr lang="en-US" sz="2000" b="1" u="sng" dirty="0">
                <a:latin typeface="Calibri" panose="020F0502020204030204" pitchFamily="34" charset="0"/>
              </a:rPr>
              <a:t>shall not be prohibited</a:t>
            </a:r>
            <a:r>
              <a:rPr lang="en-US" sz="2000" dirty="0">
                <a:latin typeface="Calibri" panose="020F0502020204030204" pitchFamily="34" charset="0"/>
              </a:rPr>
              <a:t> from offering products for which the offeror is entitled to provide the Government limited rights in the technical data pertaining to such products and </a:t>
            </a:r>
            <a:r>
              <a:rPr lang="en-US" sz="2000" b="1" dirty="0">
                <a:latin typeface="Calibri" panose="020F0502020204030204" pitchFamily="34" charset="0"/>
              </a:rPr>
              <a:t>offerors shall not be required, either as a condition of being responsive to a solicitation or as a condition for award, to sell or otherwise relinquish any greater rights in technical data when the offeror is entitled to provide the technical data with limited rights</a:t>
            </a:r>
            <a:r>
              <a:rPr lang="en-US" sz="2000" dirty="0" smtClean="0">
                <a:latin typeface="Calibri" panose="020F0502020204030204" pitchFamily="34" charset="0"/>
              </a:rPr>
              <a:t>.”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Data Rights Assertions in Proposals</a:t>
            </a:r>
            <a:endParaRPr lang="en-US" sz="4000" dirty="0"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473670" y="1028700"/>
            <a:ext cx="1445741" cy="138086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FARS seems to enable Vendor “Lock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5625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82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12295" y="1161536"/>
            <a:ext cx="880711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b="1" dirty="0" smtClean="0">
                <a:latin typeface="Calibri" panose="020F0502020204030204" pitchFamily="34" charset="0"/>
              </a:rPr>
              <a:t>Issues at the Solicitation-Proposal Stage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3200" b="1" dirty="0" smtClean="0">
                <a:latin typeface="Calibri" panose="020F0502020204030204" pitchFamily="34" charset="0"/>
              </a:rPr>
              <a:t>Gov’t efforts to avoid “Vendor Lock”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>
                <a:latin typeface="Calibri" panose="020F0502020204030204" pitchFamily="34" charset="0"/>
              </a:rPr>
              <a:t> </a:t>
            </a:r>
            <a:r>
              <a:rPr lang="en-US" sz="2800" dirty="0" smtClean="0">
                <a:latin typeface="Calibri" panose="020F0502020204030204" pitchFamily="34" charset="0"/>
              </a:rPr>
              <a:t>Solicitations can discourage restrictions on Gov’t data right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Some agencies draft solicitations that </a:t>
            </a:r>
            <a:r>
              <a:rPr lang="en-US" sz="2800" u="sng" dirty="0" smtClean="0">
                <a:latin typeface="Calibri" panose="020F0502020204030204" pitchFamily="34" charset="0"/>
              </a:rPr>
              <a:t>demand</a:t>
            </a:r>
            <a:r>
              <a:rPr lang="en-US" sz="2800" dirty="0" smtClean="0">
                <a:latin typeface="Calibri" panose="020F0502020204030204" pitchFamily="34" charset="0"/>
              </a:rPr>
              <a:t> “no less than Government Purpose Rights.”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Some agencies sometimes draft solicitations can </a:t>
            </a:r>
            <a:r>
              <a:rPr lang="en-US" sz="2800" u="sng" dirty="0" smtClean="0">
                <a:latin typeface="Calibri" panose="020F0502020204030204" pitchFamily="34" charset="0"/>
              </a:rPr>
              <a:t>demand</a:t>
            </a:r>
            <a:r>
              <a:rPr lang="en-US" sz="2800" dirty="0" smtClean="0">
                <a:latin typeface="Calibri" panose="020F0502020204030204" pitchFamily="34" charset="0"/>
              </a:rPr>
              <a:t> Unlimited Rights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Contractor Options:  Q&amp;A to clarify.  Pre-Award Protest?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901109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Data Rights Assertions in Proposals</a:t>
            </a:r>
            <a:endParaRPr lang="en-US" sz="4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120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E9B8515-8426-400B-802F-8D9BD266A0CC}" type="slidenum">
              <a:rPr lang="en-US" smtClean="0">
                <a:solidFill>
                  <a:srgbClr val="002776"/>
                </a:solidFill>
              </a:rPr>
              <a:pPr/>
              <a:t>83</a:t>
            </a:fld>
            <a:endParaRPr lang="en-US" dirty="0" smtClean="0">
              <a:solidFill>
                <a:srgbClr val="002776"/>
              </a:solidFill>
            </a:endParaRP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4778" y="1164920"/>
            <a:ext cx="8229600" cy="5109945"/>
          </a:xfrm>
        </p:spPr>
        <p:txBody>
          <a:bodyPr/>
          <a:lstStyle/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>
              <a:buFont typeface="Times" pitchFamily="18" charset="0"/>
              <a:buNone/>
            </a:pP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Considerations for</a:t>
            </a:r>
          </a:p>
          <a:p>
            <a:pPr algn="ctr">
              <a:buFont typeface="Times" pitchFamily="18" charset="0"/>
              <a:buNone/>
            </a:pPr>
            <a:r>
              <a:rPr lang="en-US" sz="5400" b="1" dirty="0" smtClean="0">
                <a:latin typeface="Calibri" pitchFamily="34" charset="0"/>
                <a:cs typeface="Calibri" pitchFamily="34" charset="0"/>
              </a:rPr>
              <a:t>Marking Restricted Data/Software</a:t>
            </a:r>
          </a:p>
        </p:txBody>
      </p:sp>
    </p:spTree>
    <p:extLst>
      <p:ext uri="{BB962C8B-B14F-4D97-AF65-F5344CB8AC3E}">
        <p14:creationId xmlns:p14="http://schemas.microsoft.com/office/powerpoint/2010/main" val="9926214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84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3" y="1123958"/>
            <a:ext cx="6373986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4000" b="1" dirty="0" smtClean="0">
                <a:latin typeface="Calibri" panose="020F0502020204030204" pitchFamily="34" charset="0"/>
              </a:rPr>
              <a:t>Why It Matters</a:t>
            </a:r>
            <a:endParaRPr lang="en-US" sz="4000" b="1" dirty="0">
              <a:latin typeface="Calibri" panose="020F0502020204030204" pitchFamily="34" charset="0"/>
            </a:endParaRPr>
          </a:p>
          <a:p>
            <a:pPr lvl="2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Marking Restricted Data/Software</a:t>
            </a:r>
            <a:endParaRPr lang="en-US" sz="4000" dirty="0">
              <a:latin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750" y="2591061"/>
            <a:ext cx="2762250" cy="254317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07773" y="1729945"/>
            <a:ext cx="5844746" cy="4361936"/>
          </a:xfrm>
          <a:prstGeom prst="rect">
            <a:avLst/>
          </a:prstGeom>
          <a:solidFill>
            <a:schemeClr val="bg1"/>
          </a:solidFill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FAR 52.227-14(f)(1):</a:t>
            </a:r>
          </a:p>
          <a:p>
            <a:endParaRPr lang="en-US" sz="2800" b="1" dirty="0" smtClean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“Data </a:t>
            </a:r>
            <a:r>
              <a:rPr lang="en-US" sz="2800" dirty="0">
                <a:solidFill>
                  <a:srgbClr val="FF0000"/>
                </a:solidFill>
                <a:latin typeface="Calibri" panose="020F0502020204030204" pitchFamily="34" charset="0"/>
              </a:rPr>
              <a:t>delivered to the Government without any restrictive markings shall be </a:t>
            </a:r>
            <a:r>
              <a:rPr lang="en-US" sz="2800" b="1" u="sng" dirty="0">
                <a:solidFill>
                  <a:srgbClr val="FF0000"/>
                </a:solidFill>
                <a:latin typeface="Calibri" panose="020F0502020204030204" pitchFamily="34" charset="0"/>
              </a:rPr>
              <a:t>deemed</a:t>
            </a:r>
            <a:r>
              <a:rPr lang="en-US" sz="2800" b="1" dirty="0">
                <a:solidFill>
                  <a:srgbClr val="FF0000"/>
                </a:solidFill>
                <a:latin typeface="Calibri" panose="020F0502020204030204" pitchFamily="34" charset="0"/>
              </a:rPr>
              <a:t> to have been furnished with </a:t>
            </a:r>
            <a:r>
              <a:rPr lang="en-US" sz="2800" b="1" u="sng" dirty="0">
                <a:solidFill>
                  <a:srgbClr val="FF0000"/>
                </a:solidFill>
                <a:latin typeface="Calibri" panose="020F0502020204030204" pitchFamily="34" charset="0"/>
              </a:rPr>
              <a:t>unlimited rights</a:t>
            </a:r>
            <a:r>
              <a:rPr lang="en-US" sz="2800" dirty="0">
                <a:solidFill>
                  <a:srgbClr val="FF0000"/>
                </a:solidFill>
                <a:latin typeface="Calibri" panose="020F0502020204030204" pitchFamily="34" charset="0"/>
              </a:rPr>
              <a:t>. The Government is </a:t>
            </a:r>
            <a:r>
              <a:rPr lang="en-US" sz="2800" b="1" u="sng" dirty="0">
                <a:solidFill>
                  <a:srgbClr val="FF0000"/>
                </a:solidFill>
                <a:latin typeface="Calibri" panose="020F0502020204030204" pitchFamily="34" charset="0"/>
              </a:rPr>
              <a:t>not liable</a:t>
            </a:r>
            <a:r>
              <a:rPr lang="en-US" sz="2800" dirty="0">
                <a:solidFill>
                  <a:srgbClr val="FF0000"/>
                </a:solidFill>
                <a:latin typeface="Calibri" panose="020F0502020204030204" pitchFamily="34" charset="0"/>
              </a:rPr>
              <a:t> for the disclosure, use, or reproduction of such data</a:t>
            </a:r>
            <a:r>
              <a:rPr lang="en-US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.”</a:t>
            </a:r>
            <a:endParaRPr lang="en-US" sz="28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7966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85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862291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Follow Instructions</a:t>
            </a:r>
            <a:r>
              <a:rPr lang="en-US" sz="2800" b="1" dirty="0" smtClean="0">
                <a:latin typeface="Calibri" panose="020F0502020204030204" pitchFamily="34" charset="0"/>
              </a:rPr>
              <a:t> in FAR/DFARS Clauses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No assertions of “trade secret” or “proprietary” data</a:t>
            </a: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“Conspicuously </a:t>
            </a:r>
            <a:r>
              <a:rPr lang="en-US" sz="2800" dirty="0">
                <a:latin typeface="Calibri" panose="020F0502020204030204" pitchFamily="34" charset="0"/>
              </a:rPr>
              <a:t>and legibly mark the appropriate </a:t>
            </a:r>
            <a:r>
              <a:rPr lang="en-US" sz="2800" dirty="0" smtClean="0">
                <a:latin typeface="Calibri" panose="020F0502020204030204" pitchFamily="34" charset="0"/>
              </a:rPr>
              <a:t>legend”</a:t>
            </a: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Place on </a:t>
            </a:r>
            <a:r>
              <a:rPr lang="en-US" sz="2800" dirty="0">
                <a:latin typeface="Calibri" panose="020F0502020204030204" pitchFamily="34" charset="0"/>
              </a:rPr>
              <a:t>the transmittal document or storage container </a:t>
            </a:r>
            <a:r>
              <a:rPr lang="en-US" sz="2800" dirty="0" smtClean="0">
                <a:latin typeface="Calibri" panose="020F0502020204030204" pitchFamily="34" charset="0"/>
              </a:rPr>
              <a:t>and each </a:t>
            </a:r>
            <a:r>
              <a:rPr lang="en-US" sz="2800" dirty="0">
                <a:latin typeface="Calibri" panose="020F0502020204030204" pitchFamily="34" charset="0"/>
              </a:rPr>
              <a:t>page of </a:t>
            </a:r>
            <a:r>
              <a:rPr lang="en-US" sz="2800" dirty="0" smtClean="0">
                <a:latin typeface="Calibri" panose="020F0502020204030204" pitchFamily="34" charset="0"/>
              </a:rPr>
              <a:t>printed </a:t>
            </a:r>
            <a:r>
              <a:rPr lang="en-US" sz="2800" dirty="0">
                <a:latin typeface="Calibri" panose="020F0502020204030204" pitchFamily="34" charset="0"/>
              </a:rPr>
              <a:t>material 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lvl="2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Marking Restricted Data/Software</a:t>
            </a:r>
            <a:endParaRPr lang="en-US" sz="4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80522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86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862291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Follow Instructions</a:t>
            </a:r>
            <a:r>
              <a:rPr lang="en-US" sz="2800" b="1" dirty="0" smtClean="0">
                <a:latin typeface="Calibri" panose="020F0502020204030204" pitchFamily="34" charset="0"/>
              </a:rPr>
              <a:t> in FAR/DFARS Clauses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Partial Marking:</a:t>
            </a:r>
            <a:r>
              <a:rPr lang="en-US" sz="2800" dirty="0" smtClean="0">
                <a:latin typeface="Calibri" panose="020F0502020204030204" pitchFamily="34" charset="0"/>
              </a:rPr>
              <a:t>  When </a:t>
            </a:r>
            <a:r>
              <a:rPr lang="en-US" sz="2800" dirty="0">
                <a:latin typeface="Calibri" panose="020F0502020204030204" pitchFamily="34" charset="0"/>
              </a:rPr>
              <a:t>only portions of a page of printed material are subject to the asserted restrictions, </a:t>
            </a:r>
            <a:r>
              <a:rPr lang="en-US" sz="2800" b="1" u="sng" dirty="0">
                <a:latin typeface="Calibri" panose="020F0502020204030204" pitchFamily="34" charset="0"/>
              </a:rPr>
              <a:t>such portions shall be identified</a:t>
            </a:r>
            <a:r>
              <a:rPr lang="en-US" sz="2800" b="1" dirty="0">
                <a:latin typeface="Calibri" panose="020F0502020204030204" pitchFamily="34" charset="0"/>
              </a:rPr>
              <a:t> by circling, underscoring, with a note, or other appropriate identifier</a:t>
            </a:r>
            <a:r>
              <a:rPr lang="en-US" sz="2800" dirty="0">
                <a:latin typeface="Calibri" panose="020F0502020204030204" pitchFamily="34" charset="0"/>
              </a:rPr>
              <a:t>.  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b="1" dirty="0" smtClean="0">
                <a:latin typeface="Calibri" panose="020F0502020204030204" pitchFamily="34" charset="0"/>
              </a:rPr>
              <a:t>Electronic Transmission:</a:t>
            </a:r>
            <a:r>
              <a:rPr lang="en-US" sz="2800" dirty="0" smtClean="0">
                <a:latin typeface="Calibri" panose="020F0502020204030204" pitchFamily="34" charset="0"/>
              </a:rPr>
              <a:t>  Technical </a:t>
            </a:r>
            <a:r>
              <a:rPr lang="en-US" sz="2800" dirty="0">
                <a:latin typeface="Calibri" panose="020F0502020204030204" pitchFamily="34" charset="0"/>
              </a:rPr>
              <a:t>data transmitted directly from one computer or computer terminal to another shall contain a notice of asserted restrictions</a:t>
            </a:r>
            <a:r>
              <a:rPr lang="en-US" sz="2800" dirty="0" smtClean="0">
                <a:latin typeface="Calibri" panose="020F0502020204030204" pitchFamily="34" charset="0"/>
              </a:rPr>
              <a:t>.</a:t>
            </a: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Mark, Mark, Mark!</a:t>
            </a:r>
            <a:r>
              <a:rPr lang="en-US" sz="2800" dirty="0">
                <a:latin typeface="Calibri" panose="020F0502020204030204" pitchFamily="34" charset="0"/>
              </a:rPr>
              <a:t> </a:t>
            </a:r>
            <a:r>
              <a:rPr lang="en-US" sz="2800" dirty="0" smtClean="0">
                <a:latin typeface="Calibri" panose="020F0502020204030204" pitchFamily="34" charset="0"/>
              </a:rPr>
              <a:t> </a:t>
            </a:r>
            <a:endParaRPr lang="en-US" sz="2800" b="1" dirty="0">
              <a:latin typeface="Calibri" panose="020F0502020204030204" pitchFamily="34" charset="0"/>
            </a:endParaRPr>
          </a:p>
          <a:p>
            <a:pPr lvl="2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Marking Restricted Data/Software</a:t>
            </a:r>
            <a:endParaRPr lang="en-US" sz="4000" dirty="0"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866765" y="5880744"/>
            <a:ext cx="5226908" cy="977256"/>
          </a:xfrm>
          <a:prstGeom prst="rect">
            <a:avLst/>
          </a:prstGeom>
          <a:solidFill>
            <a:schemeClr val="bg1"/>
          </a:solidFill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rgbClr val="FF0000"/>
                </a:solidFill>
                <a:latin typeface="Calibri" panose="020F0502020204030204" pitchFamily="34" charset="0"/>
              </a:rPr>
              <a:t>Challenges</a:t>
            </a:r>
            <a:r>
              <a:rPr lang="en-US" sz="2800" dirty="0">
                <a:solidFill>
                  <a:srgbClr val="FF0000"/>
                </a:solidFill>
                <a:latin typeface="Calibri" panose="020F0502020204030204" pitchFamily="34" charset="0"/>
              </a:rPr>
              <a:t>:  Partial Marking and Marking on Electronic Documents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6261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87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862291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Follow Instructions</a:t>
            </a:r>
            <a:r>
              <a:rPr lang="en-US" sz="2800" b="1" dirty="0" smtClean="0">
                <a:latin typeface="Calibri" panose="020F0502020204030204" pitchFamily="34" charset="0"/>
              </a:rPr>
              <a:t> in FAR/DFARS Clauses</a:t>
            </a:r>
            <a:r>
              <a:rPr lang="en-US" sz="2800" dirty="0">
                <a:latin typeface="Calibri" panose="020F0502020204030204" pitchFamily="34" charset="0"/>
              </a:rPr>
              <a:t> </a:t>
            </a:r>
            <a:endParaRPr lang="en-US" sz="2800" b="1" dirty="0">
              <a:latin typeface="Calibri" panose="020F0502020204030204" pitchFamily="34" charset="0"/>
            </a:endParaRPr>
          </a:p>
          <a:p>
            <a:pPr lvl="2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Marking Restricted Data/Software</a:t>
            </a:r>
            <a:endParaRPr lang="en-US" sz="4000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67487"/>
            <a:ext cx="9144000" cy="3284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9611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88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862291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Follow Instructions</a:t>
            </a:r>
            <a:r>
              <a:rPr lang="en-US" sz="2800" b="1" dirty="0" smtClean="0">
                <a:latin typeface="Calibri" panose="020F0502020204030204" pitchFamily="34" charset="0"/>
              </a:rPr>
              <a:t> in FAR/DFARS Clauses</a:t>
            </a:r>
            <a:r>
              <a:rPr lang="en-US" sz="2800" dirty="0">
                <a:latin typeface="Calibri" panose="020F0502020204030204" pitchFamily="34" charset="0"/>
              </a:rPr>
              <a:t> </a:t>
            </a:r>
            <a:endParaRPr lang="en-US" sz="2800" b="1" dirty="0">
              <a:latin typeface="Calibri" panose="020F0502020204030204" pitchFamily="34" charset="0"/>
            </a:endParaRPr>
          </a:p>
          <a:p>
            <a:pPr lvl="2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Marking Restricted Data/Software</a:t>
            </a:r>
            <a:endParaRPr lang="en-US" sz="4000" dirty="0">
              <a:latin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76362"/>
            <a:ext cx="9144000" cy="2994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5298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89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862291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Follow Instructions</a:t>
            </a:r>
            <a:r>
              <a:rPr lang="en-US" sz="2800" b="1" dirty="0" smtClean="0">
                <a:latin typeface="Calibri" panose="020F0502020204030204" pitchFamily="34" charset="0"/>
              </a:rPr>
              <a:t> in FAR/DFARS Clauses</a:t>
            </a:r>
            <a:r>
              <a:rPr lang="en-US" sz="2800" dirty="0">
                <a:latin typeface="Calibri" panose="020F0502020204030204" pitchFamily="34" charset="0"/>
              </a:rPr>
              <a:t> </a:t>
            </a:r>
            <a:endParaRPr lang="en-US" sz="2800" b="1" dirty="0">
              <a:latin typeface="Calibri" panose="020F0502020204030204" pitchFamily="34" charset="0"/>
            </a:endParaRPr>
          </a:p>
          <a:p>
            <a:pPr lvl="2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Marking Restricted Data/Software</a:t>
            </a:r>
            <a:endParaRPr lang="en-US" sz="4000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66670"/>
            <a:ext cx="9144000" cy="316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9455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400" dirty="0" smtClean="0">
                <a:latin typeface="Calibri" panose="020F0502020204030204" pitchFamily="34" charset="0"/>
              </a:rPr>
              <a:t>FEDERAL POLICY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8229600" cy="5050171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DFARS Part 227.71 – Technical Data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Acquire only the technical data and the rights in data </a:t>
            </a:r>
            <a:r>
              <a:rPr lang="en-US" sz="2800" b="1" u="sng" dirty="0" smtClean="0">
                <a:latin typeface="Calibri" panose="020F0502020204030204" pitchFamily="34" charset="0"/>
              </a:rPr>
              <a:t>necessary to satisfy agency needs</a:t>
            </a:r>
            <a:r>
              <a:rPr lang="en-US" sz="2800" dirty="0" smtClean="0">
                <a:latin typeface="Calibri" panose="020F0502020204030204" pitchFamily="34" charset="0"/>
              </a:rPr>
              <a:t>.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Solicitations</a:t>
            </a:r>
            <a:r>
              <a:rPr lang="en-US" sz="2800" dirty="0" smtClean="0">
                <a:latin typeface="Calibri" panose="020F0502020204030204" pitchFamily="34" charset="0"/>
              </a:rPr>
              <a:t> shall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Specify technical data to be delivered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Establish CLINs with contract prices for deliverables</a:t>
            </a:r>
          </a:p>
          <a:p>
            <a:pPr marL="828675" lvl="2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Require offerors to identify technical data to be furnished with restrictions on Government’s rights</a:t>
            </a:r>
          </a:p>
          <a:p>
            <a:pPr marL="561975" lvl="1" indent="-285750">
              <a:spcBef>
                <a:spcPts val="0"/>
              </a:spcBef>
              <a:spcAft>
                <a:spcPts val="1200"/>
              </a:spcAft>
            </a:pPr>
            <a:r>
              <a:rPr lang="en-US" sz="2800" b="1" u="sng" dirty="0" smtClean="0">
                <a:latin typeface="Calibri" panose="020F0502020204030204" pitchFamily="34" charset="0"/>
              </a:rPr>
              <a:t>Offerors shall not be required to relinquish rights</a:t>
            </a:r>
            <a:r>
              <a:rPr lang="en-US" sz="2800" dirty="0" smtClean="0">
                <a:latin typeface="Calibri" panose="020F0502020204030204" pitchFamily="34" charset="0"/>
              </a:rPr>
              <a:t> to the Government as condition for award</a:t>
            </a:r>
          </a:p>
          <a:p>
            <a:pPr marL="561975" lvl="1" indent="-285750">
              <a:spcAft>
                <a:spcPts val="1800"/>
              </a:spcAft>
            </a:pP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CA0B9-F148-4D36-99AA-F3695E16ED27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744123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90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862291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u="sng" dirty="0" smtClean="0">
                <a:latin typeface="Calibri" panose="020F0502020204030204" pitchFamily="34" charset="0"/>
              </a:rPr>
              <a:t>Follow Instructions</a:t>
            </a:r>
            <a:r>
              <a:rPr lang="en-US" sz="2800" b="1" dirty="0" smtClean="0">
                <a:latin typeface="Calibri" panose="020F0502020204030204" pitchFamily="34" charset="0"/>
              </a:rPr>
              <a:t> in FAR/DFARS Clauses</a:t>
            </a:r>
            <a:r>
              <a:rPr lang="en-US" sz="2800" dirty="0">
                <a:latin typeface="Calibri" panose="020F0502020204030204" pitchFamily="34" charset="0"/>
              </a:rPr>
              <a:t> </a:t>
            </a:r>
            <a:endParaRPr lang="en-US" sz="2800" b="1" dirty="0">
              <a:latin typeface="Calibri" panose="020F0502020204030204" pitchFamily="34" charset="0"/>
            </a:endParaRPr>
          </a:p>
          <a:p>
            <a:pPr lvl="2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Marking Restricted Data/Software</a:t>
            </a:r>
            <a:endParaRPr lang="en-US" sz="4000" dirty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11946"/>
            <a:ext cx="9144000" cy="263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165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91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862291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Omitted Markings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ontractor may request within six months of delivery to have proper markings placed on data/software.  </a:t>
            </a: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Gov’t has no liability for disclosure resulting from omission of notice.</a:t>
            </a:r>
            <a:endParaRPr lang="en-US" sz="2800" dirty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FAR 52.227-14(f); DFARS 552.227-7013(e) </a:t>
            </a:r>
            <a:endParaRPr lang="en-US" sz="2800" b="1" dirty="0">
              <a:latin typeface="Calibri" panose="020F0502020204030204" pitchFamily="34" charset="0"/>
            </a:endParaRPr>
          </a:p>
          <a:p>
            <a:pPr lvl="2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Marking Restricted Data/Software</a:t>
            </a:r>
            <a:endParaRPr lang="en-US" sz="4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4803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BACB19-7E9A-4195-BE0B-E46736A148C5}" type="slidenum">
              <a:rPr lang="en-US" smtClean="0">
                <a:solidFill>
                  <a:srgbClr val="002776"/>
                </a:solidFill>
              </a:rPr>
              <a:pPr>
                <a:defRPr/>
              </a:pPr>
              <a:t>92</a:t>
            </a:fld>
            <a:endParaRPr lang="en-US" dirty="0">
              <a:solidFill>
                <a:srgbClr val="002776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187452" y="1123958"/>
            <a:ext cx="8622915" cy="5075752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Calibri" panose="020F0502020204030204" pitchFamily="34" charset="0"/>
              </a:rPr>
              <a:t>Gov’t Challenges of (Allegedly) Incorrect Markings</a:t>
            </a:r>
            <a:endParaRPr lang="en-US" sz="2800" dirty="0" smtClean="0">
              <a:latin typeface="Calibri" panose="020F0502020204030204" pitchFamily="34" charset="0"/>
            </a:endParaRP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hallenges are in Writing</a:t>
            </a: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ontractor has 60 days to provide justification and supporting records</a:t>
            </a: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O issues a final decision</a:t>
            </a: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Contractor can appeal to Board of Contract Appeals or U.S. Court of Federal Claims</a:t>
            </a:r>
          </a:p>
          <a:p>
            <a:pPr marL="561975" lvl="1" indent="-285750">
              <a:spcBef>
                <a:spcPts val="0"/>
              </a:spcBef>
              <a:spcAft>
                <a:spcPts val="1800"/>
              </a:spcAft>
            </a:pPr>
            <a:r>
              <a:rPr lang="en-US" sz="2800" dirty="0" smtClean="0">
                <a:latin typeface="Calibri" panose="020F0502020204030204" pitchFamily="34" charset="0"/>
              </a:rPr>
              <a:t>Marking remain in place pending outcome of dispute</a:t>
            </a:r>
            <a:endParaRPr lang="en-US" sz="2800" dirty="0">
              <a:latin typeface="Calibri" panose="020F0502020204030204" pitchFamily="34" charset="0"/>
            </a:endParaRPr>
          </a:p>
          <a:p>
            <a:pPr lvl="2" indent="0">
              <a:spcBef>
                <a:spcPts val="0"/>
              </a:spcBef>
              <a:spcAft>
                <a:spcPts val="1800"/>
              </a:spcAft>
              <a:buNone/>
            </a:pPr>
            <a:endParaRPr lang="en-US" sz="2800" dirty="0" smtClean="0">
              <a:latin typeface="Calibri" panose="020F0502020204030204" pitchFamily="34" charset="0"/>
            </a:endParaRPr>
          </a:p>
          <a:p>
            <a:pPr marL="828675" lvl="2" indent="-285750">
              <a:spcBef>
                <a:spcPts val="0"/>
              </a:spcBef>
              <a:spcAft>
                <a:spcPts val="1800"/>
              </a:spcAft>
            </a:pPr>
            <a:endParaRPr lang="en-US" sz="2800" dirty="0" smtClean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27591"/>
            <a:ext cx="9144000" cy="811861"/>
          </a:xfrm>
        </p:spPr>
        <p:txBody>
          <a:bodyPr>
            <a:noAutofit/>
          </a:bodyPr>
          <a:lstStyle/>
          <a:p>
            <a:pPr algn="ctr"/>
            <a:r>
              <a:rPr lang="en-US" sz="4000" dirty="0" smtClean="0">
                <a:latin typeface="Calibri" panose="020F0502020204030204" pitchFamily="34" charset="0"/>
              </a:rPr>
              <a:t>Marking Restricted Data/Software</a:t>
            </a:r>
            <a:endParaRPr lang="en-US" sz="4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040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17095" y="2390274"/>
            <a:ext cx="4365682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avid Black</a:t>
            </a:r>
          </a:p>
          <a:p>
            <a:r>
              <a:rPr lang="en-US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Holland &amp; Knight LLP</a:t>
            </a:r>
          </a:p>
          <a:p>
            <a:r>
              <a:rPr lang="en-US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703-720-8680</a:t>
            </a:r>
          </a:p>
          <a:p>
            <a:r>
              <a:rPr lang="en-US" sz="3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David.Black@hklaw.com</a:t>
            </a:r>
            <a:endParaRPr lang="en-US" sz="3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4485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8dkWZkEegDtaiSJgf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aHmAI3aEWEhx9lLXpf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vfPj942Eyd7PeIWx03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5Aztl9EOVhcadrzl8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8dkWZkEegDtaiSJgf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kosK85FUa65whKumRVKw"/>
</p:tagLst>
</file>

<file path=ppt/theme/theme1.xml><?xml version="1.0" encoding="utf-8"?>
<a:theme xmlns:a="http://schemas.openxmlformats.org/drawingml/2006/main" name="H&amp;K_Template">
  <a:themeElements>
    <a:clrScheme name="Custom 1">
      <a:dk1>
        <a:srgbClr val="002776"/>
      </a:dk1>
      <a:lt1>
        <a:sysClr val="window" lastClr="FFFFFF"/>
      </a:lt1>
      <a:dk2>
        <a:srgbClr val="002776"/>
      </a:dk2>
      <a:lt2>
        <a:srgbClr val="F2F2F2"/>
      </a:lt2>
      <a:accent1>
        <a:srgbClr val="002776"/>
      </a:accent1>
      <a:accent2>
        <a:srgbClr val="00A9E0"/>
      </a:accent2>
      <a:accent3>
        <a:srgbClr val="A0CFEB"/>
      </a:accent3>
      <a:accent4>
        <a:srgbClr val="61C250"/>
      </a:accent4>
      <a:accent5>
        <a:srgbClr val="981E32"/>
      </a:accent5>
      <a:accent6>
        <a:srgbClr val="E37222"/>
      </a:accent6>
      <a:hlink>
        <a:srgbClr val="00A9E0"/>
      </a:hlink>
      <a:folHlink>
        <a:srgbClr val="800080"/>
      </a:folHlink>
    </a:clrScheme>
    <a:fontScheme name="H&amp;K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redopptv3">
  <a:themeElements>
    <a:clrScheme name="Custom 1">
      <a:dk1>
        <a:srgbClr val="002776"/>
      </a:dk1>
      <a:lt1>
        <a:sysClr val="window" lastClr="FFFFFF"/>
      </a:lt1>
      <a:dk2>
        <a:srgbClr val="002776"/>
      </a:dk2>
      <a:lt2>
        <a:srgbClr val="F2F2F2"/>
      </a:lt2>
      <a:accent1>
        <a:srgbClr val="002776"/>
      </a:accent1>
      <a:accent2>
        <a:srgbClr val="00A9E0"/>
      </a:accent2>
      <a:accent3>
        <a:srgbClr val="A0CFEB"/>
      </a:accent3>
      <a:accent4>
        <a:srgbClr val="61C250"/>
      </a:accent4>
      <a:accent5>
        <a:srgbClr val="981E32"/>
      </a:accent5>
      <a:accent6>
        <a:srgbClr val="E37222"/>
      </a:accent6>
      <a:hlink>
        <a:srgbClr val="00A9E0"/>
      </a:hlink>
      <a:folHlink>
        <a:srgbClr val="800080"/>
      </a:folHlink>
    </a:clrScheme>
    <a:fontScheme name="H&amp;K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0" tIns="45720" rIns="0" bIns="45720" rtlCol="0" anchor="t">
        <a:norm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800" b="1" i="0" u="none" strike="noStrike" kern="1200" cap="none" spc="0" normalizeH="0" baseline="0" noProof="0" dirty="0" smtClean="0">
            <a:ln>
              <a:noFill/>
            </a:ln>
            <a:solidFill>
              <a:srgbClr val="002776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&amp;K_template_New.potx" id="{57DD74BC-43F5-41B5-B8C9-A89E87691633}" vid="{5FFCC27A-7DED-4DA2-AF2E-69DF5933AE7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&amp;K_Template</Template>
  <TotalTime>0</TotalTime>
  <Words>4838</Words>
  <Application>Microsoft Office PowerPoint</Application>
  <PresentationFormat>On-screen Show (4:3)</PresentationFormat>
  <Paragraphs>849</Paragraphs>
  <Slides>9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3</vt:i4>
      </vt:variant>
    </vt:vector>
  </HeadingPairs>
  <TitlesOfParts>
    <vt:vector size="102" baseType="lpstr">
      <vt:lpstr>Arial</vt:lpstr>
      <vt:lpstr>Arial Narrow</vt:lpstr>
      <vt:lpstr>Calibri</vt:lpstr>
      <vt:lpstr>Courier New</vt:lpstr>
      <vt:lpstr>Times</vt:lpstr>
      <vt:lpstr>Wingdings</vt:lpstr>
      <vt:lpstr>H&amp;K_Template</vt:lpstr>
      <vt:lpstr>redopptv3</vt:lpstr>
      <vt:lpstr>think-cell Slide</vt:lpstr>
      <vt:lpstr> UNDERSTANDING INTELLECTUAL PROPERTY RIGHTS IN TECHNOLOGY DELIVERED  UNDER FEDERAL CONTRACTS</vt:lpstr>
      <vt:lpstr>Introduction: Who I Am</vt:lpstr>
      <vt:lpstr>AGENDA</vt:lpstr>
      <vt:lpstr>PowerPoint Presentation</vt:lpstr>
      <vt:lpstr>BUSINESS CONTEXT</vt:lpstr>
      <vt:lpstr>PowerPoint Presentation</vt:lpstr>
      <vt:lpstr>FEDERAL POLICY</vt:lpstr>
      <vt:lpstr>FEDERAL POLICY</vt:lpstr>
      <vt:lpstr>FEDERAL POLICY</vt:lpstr>
      <vt:lpstr>FEDERAL POLICY</vt:lpstr>
      <vt:lpstr>FEDERAL POLICY</vt:lpstr>
      <vt:lpstr>PowerPoint Presentation</vt:lpstr>
      <vt:lpstr>WHY IT MATTERS</vt:lpstr>
      <vt:lpstr>WHY IT MATTERS</vt:lpstr>
      <vt:lpstr>WHY IT MATTERS</vt:lpstr>
      <vt:lpstr>WHY IT MATTERS</vt:lpstr>
      <vt:lpstr>WHY IT MATTERS</vt:lpstr>
      <vt:lpstr>WHY IT MATTERS</vt:lpstr>
      <vt:lpstr>WHY IT MATTERS</vt:lpstr>
      <vt:lpstr>WHY IT MATTERS</vt:lpstr>
      <vt:lpstr>WHY IT MATTERS</vt:lpstr>
      <vt:lpstr>PowerPoint Presentation</vt:lpstr>
      <vt:lpstr>Data Rights Impact Commercialization</vt:lpstr>
      <vt:lpstr>Data Rights Impact Commercialization</vt:lpstr>
      <vt:lpstr>Rights Allocation Scheme: Key Definitions and Concepts</vt:lpstr>
      <vt:lpstr>Rights Allocation Scheme: Key Definitions and Concepts</vt:lpstr>
      <vt:lpstr>Data Rights Impact Commercialization</vt:lpstr>
      <vt:lpstr>Rights Allocation Scheme</vt:lpstr>
      <vt:lpstr>Rights Allocation Scheme: Limited Rights</vt:lpstr>
      <vt:lpstr>Rights Allocation Scheme: Restricted Rights</vt:lpstr>
      <vt:lpstr>Rights Allocation: Gov’t Purpose Rights</vt:lpstr>
      <vt:lpstr>Rights Allocation: Specially Negotiated License Rights</vt:lpstr>
      <vt:lpstr>Rights Allocation Scheme: Unlimited Rights</vt:lpstr>
      <vt:lpstr>Rights Allocation: SBIR</vt:lpstr>
      <vt:lpstr>Rights Allocation: SBIR Data Rights (DoD)</vt:lpstr>
      <vt:lpstr>Rights Allocation: SBIR Data Rights (Civilian)</vt:lpstr>
      <vt:lpstr>Rights Allocation: CRADA</vt:lpstr>
      <vt:lpstr>Rights Allocation: CRADA Rights</vt:lpstr>
      <vt:lpstr>Rights Allocation: OTAs</vt:lpstr>
      <vt:lpstr>Rights Allocation: OTAs</vt:lpstr>
      <vt:lpstr>Rights Allocation: OTA Rights</vt:lpstr>
      <vt:lpstr>Rights Allocation: OTA Rights</vt:lpstr>
      <vt:lpstr>Data Rights Impact Commercialization</vt:lpstr>
      <vt:lpstr>Rights Allocation: Source of Funds Test (DoD)</vt:lpstr>
      <vt:lpstr>Rights Allocation: Source of Funds Test (Civilian)</vt:lpstr>
      <vt:lpstr>Rights Allocation: Source of Funds Test</vt:lpstr>
      <vt:lpstr>Data Rights Impact Commercialization</vt:lpstr>
      <vt:lpstr>Rights Allocation: Exceptions to  Source of Funds Test</vt:lpstr>
      <vt:lpstr>Data Rights Impact Commercialization</vt:lpstr>
      <vt:lpstr>When is Data/Software “Developed” or “Produced”:  Technical Data</vt:lpstr>
      <vt:lpstr>When is Data/Software “Developed” or “Produced”:  Computer Software</vt:lpstr>
      <vt:lpstr>When is Data/Software “Developed” or “Produced”</vt:lpstr>
      <vt:lpstr>Data Rights Impact Commercialization</vt:lpstr>
      <vt:lpstr>Doctrine of Segregability  Computer Software</vt:lpstr>
      <vt:lpstr>Doctrine of Segregability  Technical Data</vt:lpstr>
      <vt:lpstr>PowerPoint Presentation</vt:lpstr>
      <vt:lpstr>TECHNOLOGY BLUEPRINT</vt:lpstr>
      <vt:lpstr>Technology Blueprint </vt:lpstr>
      <vt:lpstr>Strategic Development Plan</vt:lpstr>
      <vt:lpstr>Strategic Funding Plan</vt:lpstr>
      <vt:lpstr>Maintain Records and Inventory</vt:lpstr>
      <vt:lpstr>PowerPoint Presentation</vt:lpstr>
      <vt:lpstr>Documenting Development Activities</vt:lpstr>
      <vt:lpstr>Documenting Development Activities</vt:lpstr>
      <vt:lpstr>Documenting Development Activities</vt:lpstr>
      <vt:lpstr>Documenting Development Activities Segregability of Technical Data</vt:lpstr>
      <vt:lpstr>When is Technical Data “Developed” or “Produced”: </vt:lpstr>
      <vt:lpstr>Documenting Development Activities  Segregability of Computer Software</vt:lpstr>
      <vt:lpstr>When is Computer Software “Developed” or “Produced”?</vt:lpstr>
      <vt:lpstr>Rights Allocation: Source of Funds Test</vt:lpstr>
      <vt:lpstr>Records Keeping</vt:lpstr>
      <vt:lpstr>Value of Record Keeping</vt:lpstr>
      <vt:lpstr>Value of Record Keeping</vt:lpstr>
      <vt:lpstr>Value of Record Keeping</vt:lpstr>
      <vt:lpstr>Value of Record Keeping</vt:lpstr>
      <vt:lpstr>PowerPoint Presentation</vt:lpstr>
      <vt:lpstr>Data Rights Assertions in Proposals</vt:lpstr>
      <vt:lpstr>Data Rights Assertions in Proposals</vt:lpstr>
      <vt:lpstr>Data Rights Assertions in Proposals</vt:lpstr>
      <vt:lpstr>Data Rights Assertions in Proposals</vt:lpstr>
      <vt:lpstr>Data Rights Assertions in Proposals</vt:lpstr>
      <vt:lpstr>Data Rights Assertions in Proposals</vt:lpstr>
      <vt:lpstr>PowerPoint Presentation</vt:lpstr>
      <vt:lpstr>Marking Restricted Data/Software</vt:lpstr>
      <vt:lpstr>Marking Restricted Data/Software</vt:lpstr>
      <vt:lpstr>Marking Restricted Data/Software</vt:lpstr>
      <vt:lpstr>Marking Restricted Data/Software</vt:lpstr>
      <vt:lpstr>Marking Restricted Data/Software</vt:lpstr>
      <vt:lpstr>Marking Restricted Data/Software</vt:lpstr>
      <vt:lpstr>Marking Restricted Data/Software</vt:lpstr>
      <vt:lpstr>Marking Restricted Data/Software</vt:lpstr>
      <vt:lpstr>Marking Restricted Data/Software</vt:lpstr>
      <vt:lpstr>PowerPoint Presentation</vt:lpstr>
    </vt:vector>
  </TitlesOfParts>
  <Company>Holland &amp; Knight LL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mmocho</dc:creator>
  <cp:lastModifiedBy>Black, David S (NVA - X78680)</cp:lastModifiedBy>
  <cp:revision>627</cp:revision>
  <dcterms:created xsi:type="dcterms:W3CDTF">2011-05-11T13:39:03Z</dcterms:created>
  <dcterms:modified xsi:type="dcterms:W3CDTF">2018-03-06T19:01:19Z</dcterms:modified>
</cp:coreProperties>
</file>